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257" r:id="rId6"/>
    <p:sldId id="258" r:id="rId7"/>
    <p:sldId id="261" r:id="rId8"/>
    <p:sldId id="269" r:id="rId9"/>
    <p:sldId id="268" r:id="rId10"/>
    <p:sldId id="259" r:id="rId11"/>
    <p:sldId id="260" r:id="rId12"/>
  </p:sldIdLst>
  <p:sldSz cx="12192000" cy="6858000"/>
  <p:notesSz cx="6858000" cy="9144000"/>
  <p:defaultTextStyle>
    <a:lvl1pPr marL="18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108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126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144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1620000" indent="-180000" algn="l" defTabSz="914400" rtl="0" eaLnBrk="1" latinLnBrk="0" hangingPunct="1">
      <a:lnSpc>
        <a:spcPct val="10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lienmaster" id="{4F317C6A-E4FC-4E26-BE76-05D6C6AD86FF}">
          <p14:sldIdLst>
            <p14:sldId id="256"/>
            <p14:sldId id="257"/>
            <p14:sldId id="258"/>
            <p14:sldId id="261"/>
            <p14:sldId id="269"/>
            <p14:sldId id="268"/>
            <p14:sldId id="259"/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80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0D06D26-460D-E607-5AD2-99233D91FB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indent="0">
              <a:buNone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3C336DC-641A-7125-82C6-C3A34C9C9F4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indent="0">
              <a:buNone/>
            </a:pPr>
            <a:fld id="{94B2C029-ECFC-47A2-B633-37CE8CF31DDD}" type="datetimeFigureOut">
              <a:rPr lang="de-DE" smtClean="0"/>
              <a:pPr marL="0" indent="0">
                <a:buNone/>
              </a:pPr>
              <a:t>02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1CB3-2C92-29DD-3CDC-7EE61121B73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indent="0">
              <a:buNone/>
            </a:pP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79D7516-57D2-57C6-DF08-1F6954CFC68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marL="0" indent="0">
              <a:buNone/>
            </a:pPr>
            <a:fld id="{D35E85A5-D42B-4551-A003-D51CAE4D70CC}" type="slidenum">
              <a:rPr lang="de-DE" smtClean="0"/>
              <a:pPr marL="0" indent="0">
                <a:buNone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137018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0" indent="0" algn="l">
              <a:buNone/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marL="0" indent="0" algn="r">
              <a:buNone/>
              <a:defRPr sz="1200"/>
            </a:lvl1pPr>
          </a:lstStyle>
          <a:p>
            <a:fld id="{3D219155-ECE2-4B45-97E7-5326A9175E85}" type="datetimeFigureOut">
              <a:rPr lang="de-DE" smtClean="0"/>
              <a:pPr/>
              <a:t>02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706880" y="876109"/>
            <a:ext cx="3444240" cy="193738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3352800"/>
            <a:ext cx="5486400" cy="46482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indent="0" algn="l">
              <a:buNone/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indent="0" algn="r">
              <a:buNone/>
              <a:defRPr sz="1200"/>
            </a:lvl1pPr>
          </a:lstStyle>
          <a:p>
            <a:fld id="{B942853D-5258-426C-8400-85DD9FEFC2B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1609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4013" indent="-171450" algn="l" defTabSz="914400" rtl="0" eaLnBrk="1" latinLnBrk="0" hangingPunct="1">
      <a:spcBef>
        <a:spcPts val="600"/>
      </a:spcBef>
      <a:buClr>
        <a:schemeClr val="accent1"/>
      </a:buClr>
      <a:buFont typeface="Wingdings" panose="05000000000000000000" pitchFamily="2" charset="2"/>
      <a:buChar char="§"/>
      <a:tabLst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36575" indent="-182563" algn="l" defTabSz="914400" rtl="0" eaLnBrk="1" latinLnBrk="0" hangingPunct="1"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719138" indent="-182563" algn="l" defTabSz="914400" rtl="0" eaLnBrk="1" latinLnBrk="0" hangingPunct="1"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901700" indent="-182563" algn="l" defTabSz="914400" rtl="0" eaLnBrk="1" latinLnBrk="0" hangingPunct="1"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08150" y="876300"/>
            <a:ext cx="3441700" cy="1936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42853D-5258-426C-8400-85DD9FEFC2B4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2914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A4BC54-037E-942F-F7DB-97408B9DF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286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A4BC54-037E-942F-F7DB-97408B9DF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9F15E13-702B-9BDD-D677-0C2843FE79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2192001" cy="6857999"/>
          </a:xfrm>
          <a:custGeom>
            <a:avLst/>
            <a:gdLst>
              <a:gd name="connsiteX0" fmla="*/ 0 w 12192001"/>
              <a:gd name="connsiteY0" fmla="*/ 0 h 6857999"/>
              <a:gd name="connsiteX1" fmla="*/ 12192001 w 12192001"/>
              <a:gd name="connsiteY1" fmla="*/ 0 h 6857999"/>
              <a:gd name="connsiteX2" fmla="*/ 12192001 w 12192001"/>
              <a:gd name="connsiteY2" fmla="*/ 6857999 h 6857999"/>
              <a:gd name="connsiteX3" fmla="*/ 0 w 12192001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7999">
                <a:moveTo>
                  <a:pt x="0" y="0"/>
                </a:moveTo>
                <a:lnTo>
                  <a:pt x="12192001" y="0"/>
                </a:lnTo>
                <a:lnTo>
                  <a:pt x="12192001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720000" anchor="ctr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477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 userDrawn="1">
          <p15:clr>
            <a:srgbClr val="FBAE40"/>
          </p15:clr>
        </p15:guide>
        <p15:guide id="2" pos="43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Text und Bild (bre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E75A88-71E9-7A35-AE7B-A36DAB473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084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E75A88-71E9-7A35-AE7B-A36DAB473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1052513"/>
            <a:ext cx="3456009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EB15DE-FDF9-8975-189C-4ECEAFAFCF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7996" y="836614"/>
            <a:ext cx="7824003" cy="5653086"/>
          </a:xfrm>
          <a:solidFill>
            <a:schemeClr val="bg2"/>
          </a:solidFill>
        </p:spPr>
        <p:txBody>
          <a:bodyPr tIns="72000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A84070-A57A-5F5A-F1FB-3D8E185BE90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BE86B2-56B3-6057-71BB-3B67F369518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A945F8-66F2-65E5-564C-2EBFD3C5EA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0482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4" userDrawn="1">
          <p15:clr>
            <a:srgbClr val="FBAE40"/>
          </p15:clr>
        </p15:guide>
        <p15:guide id="2" pos="2751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742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140F1C1-050F-EDD0-8B37-2505C52E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3070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40F1C1-050F-EDD0-8B37-2505C52E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39500"/>
            <a:ext cx="10080000" cy="276999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4" y="1052514"/>
            <a:ext cx="5435600" cy="52562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EB15DE-FDF9-8975-189C-4ECEAFAFCF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836613"/>
            <a:ext cx="5843588" cy="5653088"/>
          </a:xfrm>
          <a:solidFill>
            <a:schemeClr val="bg2"/>
          </a:solidFill>
        </p:spPr>
        <p:txBody>
          <a:bodyPr tIns="72000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D4B15263-44F4-D3D2-4F2C-5BCD52A88F2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37F7BBFD-B9D5-02BB-9011-B0470B8E8F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2F163A9F-064A-F166-E855-5DE589A43B8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4959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 userDrawn="1">
          <p15:clr>
            <a:srgbClr val="FBAE40"/>
          </p15:clr>
        </p15:guide>
        <p15:guide id="2" pos="39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742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Bild (breit)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E75A88-71E9-7A35-AE7B-A36DAB473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939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E75A88-71E9-7A35-AE7B-A36DAB473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39500"/>
            <a:ext cx="10080000" cy="276999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8025" y="1052513"/>
            <a:ext cx="3456009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EB15DE-FDF9-8975-189C-4ECEAFAFCF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836614"/>
            <a:ext cx="7824004" cy="5653086"/>
          </a:xfrm>
          <a:solidFill>
            <a:schemeClr val="bg2"/>
          </a:solidFill>
        </p:spPr>
        <p:txBody>
          <a:bodyPr tIns="72000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66A412-557A-7307-532A-BD4A0136238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F2B395-292B-29E5-689E-1CE4ACFE5F4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B9C27B-53B9-E7DC-16D0-B2E483E42E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068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29" userDrawn="1">
          <p15:clr>
            <a:srgbClr val="FBAE40"/>
          </p15:clr>
        </p15:guide>
        <p15:guide id="2" pos="5246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74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Bild (voll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0449A1F-8246-06CD-046E-AD336E763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338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449A1F-8246-06CD-046E-AD336E763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EB15DE-FDF9-8975-189C-4ECEAFAFCF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836613"/>
            <a:ext cx="12192000" cy="5653087"/>
          </a:xfrm>
          <a:solidFill>
            <a:schemeClr val="bg2"/>
          </a:solidFill>
        </p:spPr>
        <p:txBody>
          <a:bodyPr tIns="72000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9FA778A-233E-676F-D16B-BEF43DB9516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52370AF-95A8-8E2F-9197-221D2EE17C0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567215C-9982-B1AE-E42E-F08ED001B8B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4881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527" userDrawn="1">
          <p15:clr>
            <a:srgbClr val="FBAE40"/>
          </p15:clr>
        </p15:guide>
        <p15:guide id="3" orient="horz" pos="4088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2F2093F-4EF9-DDB7-75C6-55D6512E0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218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F2093F-4EF9-DDB7-75C6-55D6512E0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51413EB-7AEC-A66F-9E70-47EA40AE31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9512694 w 12191999"/>
              <a:gd name="connsiteY0" fmla="*/ 5937576 h 6857999"/>
              <a:gd name="connsiteX1" fmla="*/ 9556762 w 12191999"/>
              <a:gd name="connsiteY1" fmla="*/ 5959357 h 6857999"/>
              <a:gd name="connsiteX2" fmla="*/ 9573493 w 12191999"/>
              <a:gd name="connsiteY2" fmla="*/ 6015484 h 6857999"/>
              <a:gd name="connsiteX3" fmla="*/ 9555689 w 12191999"/>
              <a:gd name="connsiteY3" fmla="*/ 6069086 h 6857999"/>
              <a:gd name="connsiteX4" fmla="*/ 9512757 w 12191999"/>
              <a:gd name="connsiteY4" fmla="*/ 6091436 h 6857999"/>
              <a:gd name="connsiteX5" fmla="*/ 9469004 w 12191999"/>
              <a:gd name="connsiteY5" fmla="*/ 6068518 h 6857999"/>
              <a:gd name="connsiteX6" fmla="*/ 9452274 w 12191999"/>
              <a:gd name="connsiteY6" fmla="*/ 6011254 h 6857999"/>
              <a:gd name="connsiteX7" fmla="*/ 9452147 w 12191999"/>
              <a:gd name="connsiteY7" fmla="*/ 6011318 h 6857999"/>
              <a:gd name="connsiteX8" fmla="*/ 9468373 w 12191999"/>
              <a:gd name="connsiteY8" fmla="*/ 5959357 h 6857999"/>
              <a:gd name="connsiteX9" fmla="*/ 9512694 w 12191999"/>
              <a:gd name="connsiteY9" fmla="*/ 5937576 h 6857999"/>
              <a:gd name="connsiteX10" fmla="*/ 10582394 w 12191999"/>
              <a:gd name="connsiteY10" fmla="*/ 5817870 h 6857999"/>
              <a:gd name="connsiteX11" fmla="*/ 10583909 w 12191999"/>
              <a:gd name="connsiteY11" fmla="*/ 5817870 h 6857999"/>
              <a:gd name="connsiteX12" fmla="*/ 10635365 w 12191999"/>
              <a:gd name="connsiteY12" fmla="*/ 5988272 h 6857999"/>
              <a:gd name="connsiteX13" fmla="*/ 10526393 w 12191999"/>
              <a:gd name="connsiteY13" fmla="*/ 5988272 h 6857999"/>
              <a:gd name="connsiteX14" fmla="*/ 10178265 w 12191999"/>
              <a:gd name="connsiteY14" fmla="*/ 5810421 h 6857999"/>
              <a:gd name="connsiteX15" fmla="*/ 10209329 w 12191999"/>
              <a:gd name="connsiteY15" fmla="*/ 5810421 h 6857999"/>
              <a:gd name="connsiteX16" fmla="*/ 10262551 w 12191999"/>
              <a:gd name="connsiteY16" fmla="*/ 5822290 h 6857999"/>
              <a:gd name="connsiteX17" fmla="*/ 10283765 w 12191999"/>
              <a:gd name="connsiteY17" fmla="*/ 5868947 h 6857999"/>
              <a:gd name="connsiteX18" fmla="*/ 10262551 w 12191999"/>
              <a:gd name="connsiteY18" fmla="*/ 5915920 h 6857999"/>
              <a:gd name="connsiteX19" fmla="*/ 10209329 w 12191999"/>
              <a:gd name="connsiteY19" fmla="*/ 5928989 h 6857999"/>
              <a:gd name="connsiteX20" fmla="*/ 10178265 w 12191999"/>
              <a:gd name="connsiteY20" fmla="*/ 5928989 h 6857999"/>
              <a:gd name="connsiteX21" fmla="*/ 9572988 w 12191999"/>
              <a:gd name="connsiteY21" fmla="*/ 5734658 h 6857999"/>
              <a:gd name="connsiteX22" fmla="*/ 9572988 w 12191999"/>
              <a:gd name="connsiteY22" fmla="*/ 5903861 h 6857999"/>
              <a:gd name="connsiteX23" fmla="*/ 9571915 w 12191999"/>
              <a:gd name="connsiteY23" fmla="*/ 5903861 h 6857999"/>
              <a:gd name="connsiteX24" fmla="*/ 9528162 w 12191999"/>
              <a:gd name="connsiteY24" fmla="*/ 5867937 h 6857999"/>
              <a:gd name="connsiteX25" fmla="*/ 9472793 w 12191999"/>
              <a:gd name="connsiteY25" fmla="*/ 5858719 h 6857999"/>
              <a:gd name="connsiteX26" fmla="*/ 9381562 w 12191999"/>
              <a:gd name="connsiteY26" fmla="*/ 5906134 h 6857999"/>
              <a:gd name="connsiteX27" fmla="*/ 9349363 w 12191999"/>
              <a:gd name="connsiteY27" fmla="*/ 6009108 h 6857999"/>
              <a:gd name="connsiteX28" fmla="*/ 9383646 w 12191999"/>
              <a:gd name="connsiteY28" fmla="*/ 6122372 h 6857999"/>
              <a:gd name="connsiteX29" fmla="*/ 9481126 w 12191999"/>
              <a:gd name="connsiteY29" fmla="*/ 6170355 h 6857999"/>
              <a:gd name="connsiteX30" fmla="*/ 9543504 w 12191999"/>
              <a:gd name="connsiteY30" fmla="*/ 6152614 h 6857999"/>
              <a:gd name="connsiteX31" fmla="*/ 9579933 w 12191999"/>
              <a:gd name="connsiteY31" fmla="*/ 6110440 h 6857999"/>
              <a:gd name="connsiteX32" fmla="*/ 9581259 w 12191999"/>
              <a:gd name="connsiteY32" fmla="*/ 6110440 h 6857999"/>
              <a:gd name="connsiteX33" fmla="*/ 9581259 w 12191999"/>
              <a:gd name="connsiteY33" fmla="*/ 6163474 h 6857999"/>
              <a:gd name="connsiteX34" fmla="*/ 9672805 w 12191999"/>
              <a:gd name="connsiteY34" fmla="*/ 6163474 h 6857999"/>
              <a:gd name="connsiteX35" fmla="*/ 9672805 w 12191999"/>
              <a:gd name="connsiteY35" fmla="*/ 5734658 h 6857999"/>
              <a:gd name="connsiteX36" fmla="*/ 11195312 w 12191999"/>
              <a:gd name="connsiteY36" fmla="*/ 5728155 h 6857999"/>
              <a:gd name="connsiteX37" fmla="*/ 11195312 w 12191999"/>
              <a:gd name="connsiteY37" fmla="*/ 6163473 h 6857999"/>
              <a:gd name="connsiteX38" fmla="*/ 11499056 w 12191999"/>
              <a:gd name="connsiteY38" fmla="*/ 6163473 h 6857999"/>
              <a:gd name="connsiteX39" fmla="*/ 11499056 w 12191999"/>
              <a:gd name="connsiteY39" fmla="*/ 6081208 h 6857999"/>
              <a:gd name="connsiteX40" fmla="*/ 11307440 w 12191999"/>
              <a:gd name="connsiteY40" fmla="*/ 6081208 h 6857999"/>
              <a:gd name="connsiteX41" fmla="*/ 11307440 w 12191999"/>
              <a:gd name="connsiteY41" fmla="*/ 5982527 h 6857999"/>
              <a:gd name="connsiteX42" fmla="*/ 11482261 w 12191999"/>
              <a:gd name="connsiteY42" fmla="*/ 5982527 h 6857999"/>
              <a:gd name="connsiteX43" fmla="*/ 11482261 w 12191999"/>
              <a:gd name="connsiteY43" fmla="*/ 5900325 h 6857999"/>
              <a:gd name="connsiteX44" fmla="*/ 11307440 w 12191999"/>
              <a:gd name="connsiteY44" fmla="*/ 5900325 h 6857999"/>
              <a:gd name="connsiteX45" fmla="*/ 11307440 w 12191999"/>
              <a:gd name="connsiteY45" fmla="*/ 5810421 h 6857999"/>
              <a:gd name="connsiteX46" fmla="*/ 11492300 w 12191999"/>
              <a:gd name="connsiteY46" fmla="*/ 5810421 h 6857999"/>
              <a:gd name="connsiteX47" fmla="*/ 11492300 w 12191999"/>
              <a:gd name="connsiteY47" fmla="*/ 5728155 h 6857999"/>
              <a:gd name="connsiteX48" fmla="*/ 10507579 w 12191999"/>
              <a:gd name="connsiteY48" fmla="*/ 5728155 h 6857999"/>
              <a:gd name="connsiteX49" fmla="*/ 10347531 w 12191999"/>
              <a:gd name="connsiteY49" fmla="*/ 6163473 h 6857999"/>
              <a:gd name="connsiteX50" fmla="*/ 10461617 w 12191999"/>
              <a:gd name="connsiteY50" fmla="*/ 6163473 h 6857999"/>
              <a:gd name="connsiteX51" fmla="*/ 10494888 w 12191999"/>
              <a:gd name="connsiteY51" fmla="*/ 6070601 h 6857999"/>
              <a:gd name="connsiteX52" fmla="*/ 10653169 w 12191999"/>
              <a:gd name="connsiteY52" fmla="*/ 6070601 h 6857999"/>
              <a:gd name="connsiteX53" fmla="*/ 10684421 w 12191999"/>
              <a:gd name="connsiteY53" fmla="*/ 6163473 h 6857999"/>
              <a:gd name="connsiteX54" fmla="*/ 10807598 w 12191999"/>
              <a:gd name="connsiteY54" fmla="*/ 6163473 h 6857999"/>
              <a:gd name="connsiteX55" fmla="*/ 10645277 w 12191999"/>
              <a:gd name="connsiteY55" fmla="*/ 5728155 h 6857999"/>
              <a:gd name="connsiteX56" fmla="*/ 10066011 w 12191999"/>
              <a:gd name="connsiteY56" fmla="*/ 5728155 h 6857999"/>
              <a:gd name="connsiteX57" fmla="*/ 10066011 w 12191999"/>
              <a:gd name="connsiteY57" fmla="*/ 6163473 h 6857999"/>
              <a:gd name="connsiteX58" fmla="*/ 10178265 w 12191999"/>
              <a:gd name="connsiteY58" fmla="*/ 6163473 h 6857999"/>
              <a:gd name="connsiteX59" fmla="*/ 10178265 w 12191999"/>
              <a:gd name="connsiteY59" fmla="*/ 6011254 h 6857999"/>
              <a:gd name="connsiteX60" fmla="*/ 10223092 w 12191999"/>
              <a:gd name="connsiteY60" fmla="*/ 6011254 h 6857999"/>
              <a:gd name="connsiteX61" fmla="*/ 10395957 w 12191999"/>
              <a:gd name="connsiteY61" fmla="*/ 5871094 h 6857999"/>
              <a:gd name="connsiteX62" fmla="*/ 10202825 w 12191999"/>
              <a:gd name="connsiteY62" fmla="*/ 5728155 h 6857999"/>
              <a:gd name="connsiteX63" fmla="*/ 11028887 w 12191999"/>
              <a:gd name="connsiteY63" fmla="*/ 5720705 h 6857999"/>
              <a:gd name="connsiteX64" fmla="*/ 10855959 w 12191999"/>
              <a:gd name="connsiteY64" fmla="*/ 5776706 h 6857999"/>
              <a:gd name="connsiteX65" fmla="*/ 10787205 w 12191999"/>
              <a:gd name="connsiteY65" fmla="*/ 5947487 h 6857999"/>
              <a:gd name="connsiteX66" fmla="*/ 10866313 w 12191999"/>
              <a:gd name="connsiteY66" fmla="*/ 6120415 h 6857999"/>
              <a:gd name="connsiteX67" fmla="*/ 10944791 w 12191999"/>
              <a:gd name="connsiteY67" fmla="*/ 6158486 h 6857999"/>
              <a:gd name="connsiteX68" fmla="*/ 11029455 w 12191999"/>
              <a:gd name="connsiteY68" fmla="*/ 6170986 h 6857999"/>
              <a:gd name="connsiteX69" fmla="*/ 11102061 w 12191999"/>
              <a:gd name="connsiteY69" fmla="*/ 6164610 h 6857999"/>
              <a:gd name="connsiteX70" fmla="*/ 11154527 w 12191999"/>
              <a:gd name="connsiteY70" fmla="*/ 6153371 h 6857999"/>
              <a:gd name="connsiteX71" fmla="*/ 11149223 w 12191999"/>
              <a:gd name="connsiteY71" fmla="*/ 6062456 h 6857999"/>
              <a:gd name="connsiteX72" fmla="*/ 11149286 w 12191999"/>
              <a:gd name="connsiteY72" fmla="*/ 6062394 h 6857999"/>
              <a:gd name="connsiteX73" fmla="*/ 11043913 w 12191999"/>
              <a:gd name="connsiteY73" fmla="*/ 6084933 h 6857999"/>
              <a:gd name="connsiteX74" fmla="*/ 10942960 w 12191999"/>
              <a:gd name="connsiteY74" fmla="*/ 6048062 h 6857999"/>
              <a:gd name="connsiteX75" fmla="*/ 10903121 w 12191999"/>
              <a:gd name="connsiteY75" fmla="*/ 5947487 h 6857999"/>
              <a:gd name="connsiteX76" fmla="*/ 10939424 w 12191999"/>
              <a:gd name="connsiteY76" fmla="*/ 5846597 h 6857999"/>
              <a:gd name="connsiteX77" fmla="*/ 11034758 w 12191999"/>
              <a:gd name="connsiteY77" fmla="*/ 5806696 h 6857999"/>
              <a:gd name="connsiteX78" fmla="*/ 11144866 w 12191999"/>
              <a:gd name="connsiteY78" fmla="*/ 5837316 h 6857999"/>
              <a:gd name="connsiteX79" fmla="*/ 11154021 w 12191999"/>
              <a:gd name="connsiteY79" fmla="*/ 5743244 h 6857999"/>
              <a:gd name="connsiteX80" fmla="*/ 11028887 w 12191999"/>
              <a:gd name="connsiteY80" fmla="*/ 5720705 h 6857999"/>
              <a:gd name="connsiteX81" fmla="*/ 9896620 w 12191999"/>
              <a:gd name="connsiteY81" fmla="*/ 5720642 h 6857999"/>
              <a:gd name="connsiteX82" fmla="*/ 9831212 w 12191999"/>
              <a:gd name="connsiteY82" fmla="*/ 5726135 h 6857999"/>
              <a:gd name="connsiteX83" fmla="*/ 9770602 w 12191999"/>
              <a:gd name="connsiteY83" fmla="*/ 5747475 h 6857999"/>
              <a:gd name="connsiteX84" fmla="*/ 9726596 w 12191999"/>
              <a:gd name="connsiteY84" fmla="*/ 5788576 h 6857999"/>
              <a:gd name="connsiteX85" fmla="*/ 9708792 w 12191999"/>
              <a:gd name="connsiteY85" fmla="*/ 5854047 h 6857999"/>
              <a:gd name="connsiteX86" fmla="*/ 9742001 w 12191999"/>
              <a:gd name="connsiteY86" fmla="*/ 5938396 h 6857999"/>
              <a:gd name="connsiteX87" fmla="*/ 9775463 w 12191999"/>
              <a:gd name="connsiteY87" fmla="*/ 5961251 h 6857999"/>
              <a:gd name="connsiteX88" fmla="*/ 9812334 w 12191999"/>
              <a:gd name="connsiteY88" fmla="*/ 5977098 h 6857999"/>
              <a:gd name="connsiteX89" fmla="*/ 9850405 w 12191999"/>
              <a:gd name="connsiteY89" fmla="*/ 5988968 h 6857999"/>
              <a:gd name="connsiteX90" fmla="*/ 9882667 w 12191999"/>
              <a:gd name="connsiteY90" fmla="*/ 6000837 h 6857999"/>
              <a:gd name="connsiteX91" fmla="*/ 9906406 w 12191999"/>
              <a:gd name="connsiteY91" fmla="*/ 6017000 h 6857999"/>
              <a:gd name="connsiteX92" fmla="*/ 9914613 w 12191999"/>
              <a:gd name="connsiteY92" fmla="*/ 6042569 h 6857999"/>
              <a:gd name="connsiteX93" fmla="*/ 9892642 w 12191999"/>
              <a:gd name="connsiteY93" fmla="*/ 6076662 h 6857999"/>
              <a:gd name="connsiteX94" fmla="*/ 9842576 w 12191999"/>
              <a:gd name="connsiteY94" fmla="*/ 6084870 h 6857999"/>
              <a:gd name="connsiteX95" fmla="*/ 9722619 w 12191999"/>
              <a:gd name="connsiteY95" fmla="*/ 6056207 h 6857999"/>
              <a:gd name="connsiteX96" fmla="*/ 9712896 w 12191999"/>
              <a:gd name="connsiteY96" fmla="*/ 6152046 h 6857999"/>
              <a:gd name="connsiteX97" fmla="*/ 9712770 w 12191999"/>
              <a:gd name="connsiteY97" fmla="*/ 6152109 h 6857999"/>
              <a:gd name="connsiteX98" fmla="*/ 9841061 w 12191999"/>
              <a:gd name="connsiteY98" fmla="*/ 6170923 h 6857999"/>
              <a:gd name="connsiteX99" fmla="*/ 9972066 w 12191999"/>
              <a:gd name="connsiteY99" fmla="*/ 6140808 h 6857999"/>
              <a:gd name="connsiteX100" fmla="*/ 10030467 w 12191999"/>
              <a:gd name="connsiteY100" fmla="*/ 6027480 h 6857999"/>
              <a:gd name="connsiteX101" fmla="*/ 10022259 w 12191999"/>
              <a:gd name="connsiteY101" fmla="*/ 5976909 h 6857999"/>
              <a:gd name="connsiteX102" fmla="*/ 9998836 w 12191999"/>
              <a:gd name="connsiteY102" fmla="*/ 5942500 h 6857999"/>
              <a:gd name="connsiteX103" fmla="*/ 9966258 w 12191999"/>
              <a:gd name="connsiteY103" fmla="*/ 5919329 h 6857999"/>
              <a:gd name="connsiteX104" fmla="*/ 9928187 w 12191999"/>
              <a:gd name="connsiteY104" fmla="*/ 5904429 h 6857999"/>
              <a:gd name="connsiteX105" fmla="*/ 9891316 w 12191999"/>
              <a:gd name="connsiteY105" fmla="*/ 5892560 h 6857999"/>
              <a:gd name="connsiteX106" fmla="*/ 9857791 w 12191999"/>
              <a:gd name="connsiteY106" fmla="*/ 5881890 h 6857999"/>
              <a:gd name="connsiteX107" fmla="*/ 9834052 w 12191999"/>
              <a:gd name="connsiteY107" fmla="*/ 5868189 h 6857999"/>
              <a:gd name="connsiteX108" fmla="*/ 9824645 w 12191999"/>
              <a:gd name="connsiteY108" fmla="*/ 5847165 h 6857999"/>
              <a:gd name="connsiteX109" fmla="*/ 9853372 w 12191999"/>
              <a:gd name="connsiteY109" fmla="*/ 5812125 h 6857999"/>
              <a:gd name="connsiteX110" fmla="*/ 9879068 w 12191999"/>
              <a:gd name="connsiteY110" fmla="*/ 5807264 h 6857999"/>
              <a:gd name="connsiteX111" fmla="*/ 9902933 w 12191999"/>
              <a:gd name="connsiteY111" fmla="*/ 5806633 h 6857999"/>
              <a:gd name="connsiteX112" fmla="*/ 10000225 w 12191999"/>
              <a:gd name="connsiteY112" fmla="*/ 5826457 h 6857999"/>
              <a:gd name="connsiteX113" fmla="*/ 10007548 w 12191999"/>
              <a:gd name="connsiteY113" fmla="*/ 5736742 h 6857999"/>
              <a:gd name="connsiteX114" fmla="*/ 9896620 w 12191999"/>
              <a:gd name="connsiteY114" fmla="*/ 5720642 h 6857999"/>
              <a:gd name="connsiteX115" fmla="*/ 0 w 12191999"/>
              <a:gd name="connsiteY115" fmla="*/ 0 h 6857999"/>
              <a:gd name="connsiteX116" fmla="*/ 12191999 w 12191999"/>
              <a:gd name="connsiteY116" fmla="*/ 0 h 6857999"/>
              <a:gd name="connsiteX117" fmla="*/ 12191999 w 12191999"/>
              <a:gd name="connsiteY117" fmla="*/ 6857999 h 6857999"/>
              <a:gd name="connsiteX118" fmla="*/ 0 w 12191999"/>
              <a:gd name="connsiteY118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12191999" h="6857999">
                <a:moveTo>
                  <a:pt x="9512694" y="5937576"/>
                </a:moveTo>
                <a:cubicBezTo>
                  <a:pt x="9531445" y="5937954"/>
                  <a:pt x="9546092" y="5945215"/>
                  <a:pt x="9556762" y="5959357"/>
                </a:cubicBezTo>
                <a:cubicBezTo>
                  <a:pt x="9567558" y="5973500"/>
                  <a:pt x="9573114" y="5992188"/>
                  <a:pt x="9573493" y="6015484"/>
                </a:cubicBezTo>
                <a:cubicBezTo>
                  <a:pt x="9573114" y="6037455"/>
                  <a:pt x="9567180" y="6055323"/>
                  <a:pt x="9555689" y="6069086"/>
                </a:cubicBezTo>
                <a:cubicBezTo>
                  <a:pt x="9544325" y="6083608"/>
                  <a:pt x="9529993" y="6091057"/>
                  <a:pt x="9512757" y="6091436"/>
                </a:cubicBezTo>
                <a:cubicBezTo>
                  <a:pt x="9493816" y="6091436"/>
                  <a:pt x="9479232" y="6083797"/>
                  <a:pt x="9469004" y="6068518"/>
                </a:cubicBezTo>
                <a:cubicBezTo>
                  <a:pt x="9457830" y="6054376"/>
                  <a:pt x="9452274" y="6035309"/>
                  <a:pt x="9452274" y="6011254"/>
                </a:cubicBezTo>
                <a:lnTo>
                  <a:pt x="9452147" y="6011318"/>
                </a:lnTo>
                <a:cubicBezTo>
                  <a:pt x="9452147" y="5990862"/>
                  <a:pt x="9457514" y="5973500"/>
                  <a:pt x="9468373" y="5959357"/>
                </a:cubicBezTo>
                <a:cubicBezTo>
                  <a:pt x="9478285" y="5945215"/>
                  <a:pt x="9493059" y="5937954"/>
                  <a:pt x="9512694" y="5937576"/>
                </a:cubicBezTo>
                <a:close/>
                <a:moveTo>
                  <a:pt x="10582394" y="5817870"/>
                </a:moveTo>
                <a:lnTo>
                  <a:pt x="10583909" y="5817870"/>
                </a:lnTo>
                <a:lnTo>
                  <a:pt x="10635365" y="5988272"/>
                </a:lnTo>
                <a:lnTo>
                  <a:pt x="10526393" y="5988272"/>
                </a:lnTo>
                <a:close/>
                <a:moveTo>
                  <a:pt x="10178265" y="5810421"/>
                </a:moveTo>
                <a:lnTo>
                  <a:pt x="10209329" y="5810421"/>
                </a:lnTo>
                <a:cubicBezTo>
                  <a:pt x="10230478" y="5810421"/>
                  <a:pt x="10248219" y="5814398"/>
                  <a:pt x="10262551" y="5822290"/>
                </a:cubicBezTo>
                <a:cubicBezTo>
                  <a:pt x="10276251" y="5831445"/>
                  <a:pt x="10283386" y="5846976"/>
                  <a:pt x="10283765" y="5868947"/>
                </a:cubicBezTo>
                <a:cubicBezTo>
                  <a:pt x="10283386" y="5891108"/>
                  <a:pt x="10276251" y="5906765"/>
                  <a:pt x="10262551" y="5915920"/>
                </a:cubicBezTo>
                <a:cubicBezTo>
                  <a:pt x="10248219" y="5925074"/>
                  <a:pt x="10230478" y="5929431"/>
                  <a:pt x="10209329" y="5928989"/>
                </a:cubicBezTo>
                <a:lnTo>
                  <a:pt x="10178265" y="5928989"/>
                </a:lnTo>
                <a:close/>
                <a:moveTo>
                  <a:pt x="9572988" y="5734658"/>
                </a:moveTo>
                <a:lnTo>
                  <a:pt x="9572988" y="5903861"/>
                </a:lnTo>
                <a:lnTo>
                  <a:pt x="9571915" y="5903861"/>
                </a:lnTo>
                <a:cubicBezTo>
                  <a:pt x="9559288" y="5887130"/>
                  <a:pt x="9544767" y="5875198"/>
                  <a:pt x="9528162" y="5867937"/>
                </a:cubicBezTo>
                <a:cubicBezTo>
                  <a:pt x="9511621" y="5861813"/>
                  <a:pt x="9493122" y="5858719"/>
                  <a:pt x="9472793" y="5858719"/>
                </a:cubicBezTo>
                <a:cubicBezTo>
                  <a:pt x="9433017" y="5859666"/>
                  <a:pt x="9402586" y="5875450"/>
                  <a:pt x="9381562" y="5906134"/>
                </a:cubicBezTo>
                <a:cubicBezTo>
                  <a:pt x="9360096" y="5936249"/>
                  <a:pt x="9349363" y="5970595"/>
                  <a:pt x="9349363" y="6009108"/>
                </a:cubicBezTo>
                <a:cubicBezTo>
                  <a:pt x="9349363" y="6054123"/>
                  <a:pt x="9360790" y="6091878"/>
                  <a:pt x="9383646" y="6122372"/>
                </a:cubicBezTo>
                <a:cubicBezTo>
                  <a:pt x="9405806" y="6153435"/>
                  <a:pt x="9438257" y="6169409"/>
                  <a:pt x="9481126" y="6170355"/>
                </a:cubicBezTo>
                <a:cubicBezTo>
                  <a:pt x="9504676" y="6169977"/>
                  <a:pt x="9525511" y="6164042"/>
                  <a:pt x="9543504" y="6152614"/>
                </a:cubicBezTo>
                <a:cubicBezTo>
                  <a:pt x="9561308" y="6141250"/>
                  <a:pt x="9573493" y="6127234"/>
                  <a:pt x="9579933" y="6110440"/>
                </a:cubicBezTo>
                <a:lnTo>
                  <a:pt x="9581259" y="6110440"/>
                </a:lnTo>
                <a:lnTo>
                  <a:pt x="9581259" y="6163474"/>
                </a:lnTo>
                <a:lnTo>
                  <a:pt x="9672805" y="6163474"/>
                </a:lnTo>
                <a:lnTo>
                  <a:pt x="9672805" y="5734658"/>
                </a:lnTo>
                <a:close/>
                <a:moveTo>
                  <a:pt x="11195312" y="5728155"/>
                </a:moveTo>
                <a:lnTo>
                  <a:pt x="11195312" y="6163473"/>
                </a:lnTo>
                <a:lnTo>
                  <a:pt x="11499056" y="6163473"/>
                </a:lnTo>
                <a:lnTo>
                  <a:pt x="11499056" y="6081208"/>
                </a:lnTo>
                <a:lnTo>
                  <a:pt x="11307440" y="6081208"/>
                </a:lnTo>
                <a:lnTo>
                  <a:pt x="11307440" y="5982527"/>
                </a:lnTo>
                <a:lnTo>
                  <a:pt x="11482261" y="5982527"/>
                </a:lnTo>
                <a:lnTo>
                  <a:pt x="11482261" y="5900325"/>
                </a:lnTo>
                <a:lnTo>
                  <a:pt x="11307440" y="5900325"/>
                </a:lnTo>
                <a:lnTo>
                  <a:pt x="11307440" y="5810421"/>
                </a:lnTo>
                <a:lnTo>
                  <a:pt x="11492300" y="5810421"/>
                </a:lnTo>
                <a:lnTo>
                  <a:pt x="11492300" y="5728155"/>
                </a:lnTo>
                <a:close/>
                <a:moveTo>
                  <a:pt x="10507579" y="5728155"/>
                </a:moveTo>
                <a:lnTo>
                  <a:pt x="10347531" y="6163473"/>
                </a:lnTo>
                <a:lnTo>
                  <a:pt x="10461617" y="6163473"/>
                </a:lnTo>
                <a:lnTo>
                  <a:pt x="10494888" y="6070601"/>
                </a:lnTo>
                <a:lnTo>
                  <a:pt x="10653169" y="6070601"/>
                </a:lnTo>
                <a:lnTo>
                  <a:pt x="10684421" y="6163473"/>
                </a:lnTo>
                <a:lnTo>
                  <a:pt x="10807598" y="6163473"/>
                </a:lnTo>
                <a:lnTo>
                  <a:pt x="10645277" y="5728155"/>
                </a:lnTo>
                <a:close/>
                <a:moveTo>
                  <a:pt x="10066011" y="5728155"/>
                </a:moveTo>
                <a:lnTo>
                  <a:pt x="10066011" y="6163473"/>
                </a:lnTo>
                <a:lnTo>
                  <a:pt x="10178265" y="6163473"/>
                </a:lnTo>
                <a:lnTo>
                  <a:pt x="10178265" y="6011254"/>
                </a:lnTo>
                <a:lnTo>
                  <a:pt x="10223092" y="6011254"/>
                </a:lnTo>
                <a:cubicBezTo>
                  <a:pt x="10336735" y="6010055"/>
                  <a:pt x="10394315" y="5963335"/>
                  <a:pt x="10395957" y="5871094"/>
                </a:cubicBezTo>
                <a:cubicBezTo>
                  <a:pt x="10396398" y="5775444"/>
                  <a:pt x="10332000" y="5727777"/>
                  <a:pt x="10202825" y="5728155"/>
                </a:cubicBezTo>
                <a:close/>
                <a:moveTo>
                  <a:pt x="11028887" y="5720705"/>
                </a:moveTo>
                <a:cubicBezTo>
                  <a:pt x="10958049" y="5720705"/>
                  <a:pt x="10900469" y="5739393"/>
                  <a:pt x="10855959" y="5776706"/>
                </a:cubicBezTo>
                <a:cubicBezTo>
                  <a:pt x="10810881" y="5814651"/>
                  <a:pt x="10787963" y="5871599"/>
                  <a:pt x="10787205" y="5947487"/>
                </a:cubicBezTo>
                <a:cubicBezTo>
                  <a:pt x="10788783" y="6028680"/>
                  <a:pt x="10815174" y="6086322"/>
                  <a:pt x="10866313" y="6120415"/>
                </a:cubicBezTo>
                <a:cubicBezTo>
                  <a:pt x="10890115" y="6137840"/>
                  <a:pt x="10916317" y="6150530"/>
                  <a:pt x="10944791" y="6158486"/>
                </a:cubicBezTo>
                <a:cubicBezTo>
                  <a:pt x="10973138" y="6166820"/>
                  <a:pt x="11001360" y="6170986"/>
                  <a:pt x="11029455" y="6170986"/>
                </a:cubicBezTo>
                <a:cubicBezTo>
                  <a:pt x="11057992" y="6170607"/>
                  <a:pt x="11082173" y="6168461"/>
                  <a:pt x="11102061" y="6164610"/>
                </a:cubicBezTo>
                <a:cubicBezTo>
                  <a:pt x="11121696" y="6161390"/>
                  <a:pt x="11139248" y="6157665"/>
                  <a:pt x="11154527" y="6153371"/>
                </a:cubicBezTo>
                <a:lnTo>
                  <a:pt x="11149223" y="6062456"/>
                </a:lnTo>
                <a:lnTo>
                  <a:pt x="11149286" y="6062394"/>
                </a:lnTo>
                <a:cubicBezTo>
                  <a:pt x="11117403" y="6077041"/>
                  <a:pt x="11082300" y="6084554"/>
                  <a:pt x="11043913" y="6084933"/>
                </a:cubicBezTo>
                <a:cubicBezTo>
                  <a:pt x="11001992" y="6084933"/>
                  <a:pt x="10968340" y="6072622"/>
                  <a:pt x="10942960" y="6048062"/>
                </a:cubicBezTo>
                <a:cubicBezTo>
                  <a:pt x="10916822" y="6023881"/>
                  <a:pt x="10903500" y="5990356"/>
                  <a:pt x="10903121" y="5947487"/>
                </a:cubicBezTo>
                <a:cubicBezTo>
                  <a:pt x="10903500" y="5906008"/>
                  <a:pt x="10915622" y="5872420"/>
                  <a:pt x="10939424" y="5846597"/>
                </a:cubicBezTo>
                <a:cubicBezTo>
                  <a:pt x="10962847" y="5820396"/>
                  <a:pt x="10994604" y="5807074"/>
                  <a:pt x="11034758" y="5806696"/>
                </a:cubicBezTo>
                <a:cubicBezTo>
                  <a:pt x="11072703" y="5806696"/>
                  <a:pt x="11109448" y="5816923"/>
                  <a:pt x="11144866" y="5837316"/>
                </a:cubicBezTo>
                <a:lnTo>
                  <a:pt x="11154021" y="5743244"/>
                </a:lnTo>
                <a:cubicBezTo>
                  <a:pt x="11113678" y="5729039"/>
                  <a:pt x="11071945" y="5721526"/>
                  <a:pt x="11028887" y="5720705"/>
                </a:cubicBezTo>
                <a:close/>
                <a:moveTo>
                  <a:pt x="9896620" y="5720642"/>
                </a:moveTo>
                <a:cubicBezTo>
                  <a:pt x="9874712" y="5720642"/>
                  <a:pt x="9852930" y="5722473"/>
                  <a:pt x="9831212" y="5726135"/>
                </a:cubicBezTo>
                <a:cubicBezTo>
                  <a:pt x="9809303" y="5730428"/>
                  <a:pt x="9789100" y="5737500"/>
                  <a:pt x="9770602" y="5747475"/>
                </a:cubicBezTo>
                <a:cubicBezTo>
                  <a:pt x="9752545" y="5757450"/>
                  <a:pt x="9737834" y="5771151"/>
                  <a:pt x="9726596" y="5788576"/>
                </a:cubicBezTo>
                <a:cubicBezTo>
                  <a:pt x="9714726" y="5806064"/>
                  <a:pt x="9708792" y="5827846"/>
                  <a:pt x="9708792" y="5854047"/>
                </a:cubicBezTo>
                <a:cubicBezTo>
                  <a:pt x="9709171" y="5892433"/>
                  <a:pt x="9720219" y="5920529"/>
                  <a:pt x="9742001" y="5938396"/>
                </a:cubicBezTo>
                <a:cubicBezTo>
                  <a:pt x="9751977" y="5947551"/>
                  <a:pt x="9763088" y="5955127"/>
                  <a:pt x="9775463" y="5961251"/>
                </a:cubicBezTo>
                <a:cubicBezTo>
                  <a:pt x="9787648" y="5967565"/>
                  <a:pt x="9799896" y="5972805"/>
                  <a:pt x="9812334" y="5977098"/>
                </a:cubicBezTo>
                <a:cubicBezTo>
                  <a:pt x="9825719" y="5981138"/>
                  <a:pt x="9838409" y="5985116"/>
                  <a:pt x="9850405" y="5988968"/>
                </a:cubicBezTo>
                <a:cubicBezTo>
                  <a:pt x="9862337" y="5992629"/>
                  <a:pt x="9873133" y="5996544"/>
                  <a:pt x="9882667" y="6000837"/>
                </a:cubicBezTo>
                <a:cubicBezTo>
                  <a:pt x="9892832" y="6004878"/>
                  <a:pt x="9900723" y="6010244"/>
                  <a:pt x="9906406" y="6017000"/>
                </a:cubicBezTo>
                <a:cubicBezTo>
                  <a:pt x="9911898" y="6023692"/>
                  <a:pt x="9914613" y="6032215"/>
                  <a:pt x="9914613" y="6042569"/>
                </a:cubicBezTo>
                <a:cubicBezTo>
                  <a:pt x="9914235" y="6059616"/>
                  <a:pt x="9906910" y="6070980"/>
                  <a:pt x="9892642" y="6076662"/>
                </a:cubicBezTo>
                <a:cubicBezTo>
                  <a:pt x="9879005" y="6082534"/>
                  <a:pt x="9862337" y="6085312"/>
                  <a:pt x="9842576" y="6084870"/>
                </a:cubicBezTo>
                <a:cubicBezTo>
                  <a:pt x="9793519" y="6084049"/>
                  <a:pt x="9753555" y="6074516"/>
                  <a:pt x="9722619" y="6056207"/>
                </a:cubicBezTo>
                <a:lnTo>
                  <a:pt x="9712896" y="6152046"/>
                </a:lnTo>
                <a:lnTo>
                  <a:pt x="9712770" y="6152109"/>
                </a:lnTo>
                <a:cubicBezTo>
                  <a:pt x="9754755" y="6164673"/>
                  <a:pt x="9797497" y="6170923"/>
                  <a:pt x="9841061" y="6170923"/>
                </a:cubicBezTo>
                <a:cubicBezTo>
                  <a:pt x="9891253" y="6171365"/>
                  <a:pt x="9934879" y="6161327"/>
                  <a:pt x="9972066" y="6140808"/>
                </a:cubicBezTo>
                <a:cubicBezTo>
                  <a:pt x="10009821" y="6120100"/>
                  <a:pt x="10029267" y="6082344"/>
                  <a:pt x="10030467" y="6027480"/>
                </a:cubicBezTo>
                <a:cubicBezTo>
                  <a:pt x="10030467" y="6007340"/>
                  <a:pt x="10027752" y="5990546"/>
                  <a:pt x="10022259" y="5976909"/>
                </a:cubicBezTo>
                <a:cubicBezTo>
                  <a:pt x="10016577" y="5963082"/>
                  <a:pt x="10008748" y="5951655"/>
                  <a:pt x="9998836" y="5942500"/>
                </a:cubicBezTo>
                <a:cubicBezTo>
                  <a:pt x="9989302" y="5933345"/>
                  <a:pt x="9978443" y="5925643"/>
                  <a:pt x="9966258" y="5919329"/>
                </a:cubicBezTo>
                <a:cubicBezTo>
                  <a:pt x="9954325" y="5913205"/>
                  <a:pt x="9941572" y="5908280"/>
                  <a:pt x="9928187" y="5904429"/>
                </a:cubicBezTo>
                <a:cubicBezTo>
                  <a:pt x="9915813" y="5900389"/>
                  <a:pt x="9903501" y="5896411"/>
                  <a:pt x="9891316" y="5892560"/>
                </a:cubicBezTo>
                <a:cubicBezTo>
                  <a:pt x="9878942" y="5888898"/>
                  <a:pt x="9867767" y="5885362"/>
                  <a:pt x="9857791" y="5881890"/>
                </a:cubicBezTo>
                <a:cubicBezTo>
                  <a:pt x="9847816" y="5878228"/>
                  <a:pt x="9839924" y="5873682"/>
                  <a:pt x="9834052" y="5868189"/>
                </a:cubicBezTo>
                <a:cubicBezTo>
                  <a:pt x="9827739" y="5862886"/>
                  <a:pt x="9824645" y="5855878"/>
                  <a:pt x="9824645" y="5847165"/>
                </a:cubicBezTo>
                <a:cubicBezTo>
                  <a:pt x="9825466" y="5828477"/>
                  <a:pt x="9835063" y="5816797"/>
                  <a:pt x="9853372" y="5812125"/>
                </a:cubicBezTo>
                <a:cubicBezTo>
                  <a:pt x="9861706" y="5809663"/>
                  <a:pt x="9870293" y="5808084"/>
                  <a:pt x="9879068" y="5807264"/>
                </a:cubicBezTo>
                <a:cubicBezTo>
                  <a:pt x="9887844" y="5806885"/>
                  <a:pt x="9895799" y="5806633"/>
                  <a:pt x="9902933" y="5806633"/>
                </a:cubicBezTo>
                <a:cubicBezTo>
                  <a:pt x="9936774" y="5806633"/>
                  <a:pt x="9969225" y="5813262"/>
                  <a:pt x="10000225" y="5826457"/>
                </a:cubicBezTo>
                <a:lnTo>
                  <a:pt x="10007548" y="5736742"/>
                </a:lnTo>
                <a:cubicBezTo>
                  <a:pt x="9976801" y="5726388"/>
                  <a:pt x="9939804" y="5721021"/>
                  <a:pt x="9896620" y="5720642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bIns="720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DF177B-44F7-55AD-9A0A-F8A6D15676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6" y="3779428"/>
            <a:ext cx="10801348" cy="446084"/>
          </a:xfrm>
        </p:spPr>
        <p:txBody>
          <a:bodyPr vert="horz" wrap="square" anchor="b">
            <a:spAutoFit/>
          </a:bodyPr>
          <a:lstStyle>
            <a:lvl1pPr algn="l">
              <a:defRPr sz="3200" cap="all" spc="250" baseline="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Kapitel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4D3F85E-BDBD-2F50-2927-7BAD7577D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6" y="4630738"/>
            <a:ext cx="1080134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7F612FB-ED7A-0D44-F905-EE102EA23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91176"/>
            <a:ext cx="10801349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  <a:lvl6pPr marL="0" indent="0">
              <a:buNone/>
              <a:defRPr>
                <a:solidFill>
                  <a:schemeClr val="bg1"/>
                </a:solidFill>
              </a:defRPr>
            </a:lvl6pPr>
            <a:lvl7pPr marL="0" indent="0">
              <a:buNone/>
              <a:defRPr>
                <a:solidFill>
                  <a:schemeClr val="bg1"/>
                </a:solidFill>
              </a:defRPr>
            </a:lvl7pPr>
            <a:lvl8pPr marL="0" indent="0">
              <a:buNone/>
              <a:defRPr>
                <a:solidFill>
                  <a:schemeClr val="bg1"/>
                </a:solidFill>
              </a:defRPr>
            </a:lvl8pPr>
            <a:lvl9pPr marL="0" indent="0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Datum</a:t>
            </a:r>
            <a:endParaRPr lang="de-DE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F17ABD3C-EAA9-C4EF-F7F0-A7361DD96777}"/>
              </a:ext>
            </a:extLst>
          </p:cNvPr>
          <p:cNvGrpSpPr>
            <a:grpSpLocks/>
          </p:cNvGrpSpPr>
          <p:nvPr userDrawn="1"/>
        </p:nvGrpSpPr>
        <p:grpSpPr>
          <a:xfrm>
            <a:off x="9349364" y="5720643"/>
            <a:ext cx="2149692" cy="450344"/>
            <a:chOff x="4476750" y="3090862"/>
            <a:chExt cx="3243166" cy="679418"/>
          </a:xfrm>
          <a:solidFill>
            <a:schemeClr val="bg1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FDEC6B1-948D-1BED-DA26-64EA051BFD5E}"/>
                </a:ext>
              </a:extLst>
            </p:cNvPr>
            <p:cNvSpPr/>
            <p:nvPr/>
          </p:nvSpPr>
          <p:spPr>
            <a:xfrm>
              <a:off x="4476750" y="3112007"/>
              <a:ext cx="488061" cy="657320"/>
            </a:xfrm>
            <a:custGeom>
              <a:avLst/>
              <a:gdLst>
                <a:gd name="connsiteX0" fmla="*/ 488061 w 488061"/>
                <a:gd name="connsiteY0" fmla="*/ 0 h 657320"/>
                <a:gd name="connsiteX1" fmla="*/ 337375 w 488061"/>
                <a:gd name="connsiteY1" fmla="*/ 0 h 657320"/>
                <a:gd name="connsiteX2" fmla="*/ 337375 w 488061"/>
                <a:gd name="connsiteY2" fmla="*/ 255270 h 657320"/>
                <a:gd name="connsiteX3" fmla="*/ 335756 w 488061"/>
                <a:gd name="connsiteY3" fmla="*/ 255270 h 657320"/>
                <a:gd name="connsiteX4" fmla="*/ 269748 w 488061"/>
                <a:gd name="connsiteY4" fmla="*/ 201073 h 657320"/>
                <a:gd name="connsiteX5" fmla="*/ 186214 w 488061"/>
                <a:gd name="connsiteY5" fmla="*/ 187166 h 657320"/>
                <a:gd name="connsiteX6" fmla="*/ 48578 w 488061"/>
                <a:gd name="connsiteY6" fmla="*/ 258699 h 657320"/>
                <a:gd name="connsiteX7" fmla="*/ 0 w 488061"/>
                <a:gd name="connsiteY7" fmla="*/ 414052 h 657320"/>
                <a:gd name="connsiteX8" fmla="*/ 51721 w 488061"/>
                <a:gd name="connsiteY8" fmla="*/ 584930 h 657320"/>
                <a:gd name="connsiteX9" fmla="*/ 198787 w 488061"/>
                <a:gd name="connsiteY9" fmla="*/ 657320 h 657320"/>
                <a:gd name="connsiteX10" fmla="*/ 292894 w 488061"/>
                <a:gd name="connsiteY10" fmla="*/ 630555 h 657320"/>
                <a:gd name="connsiteX11" fmla="*/ 347853 w 488061"/>
                <a:gd name="connsiteY11" fmla="*/ 566928 h 657320"/>
                <a:gd name="connsiteX12" fmla="*/ 349853 w 488061"/>
                <a:gd name="connsiteY12" fmla="*/ 566928 h 657320"/>
                <a:gd name="connsiteX13" fmla="*/ 349853 w 488061"/>
                <a:gd name="connsiteY13" fmla="*/ 646938 h 657320"/>
                <a:gd name="connsiteX14" fmla="*/ 487966 w 488061"/>
                <a:gd name="connsiteY14" fmla="*/ 646938 h 657320"/>
                <a:gd name="connsiteX15" fmla="*/ 487966 w 488061"/>
                <a:gd name="connsiteY15" fmla="*/ 0 h 657320"/>
                <a:gd name="connsiteX16" fmla="*/ 155067 w 488061"/>
                <a:gd name="connsiteY16" fmla="*/ 417386 h 657320"/>
                <a:gd name="connsiteX17" fmla="*/ 179546 w 488061"/>
                <a:gd name="connsiteY17" fmla="*/ 338995 h 657320"/>
                <a:gd name="connsiteX18" fmla="*/ 246412 w 488061"/>
                <a:gd name="connsiteY18" fmla="*/ 306134 h 657320"/>
                <a:gd name="connsiteX19" fmla="*/ 312896 w 488061"/>
                <a:gd name="connsiteY19" fmla="*/ 338995 h 657320"/>
                <a:gd name="connsiteX20" fmla="*/ 338138 w 488061"/>
                <a:gd name="connsiteY20" fmla="*/ 423672 h 657320"/>
                <a:gd name="connsiteX21" fmla="*/ 311277 w 488061"/>
                <a:gd name="connsiteY21" fmla="*/ 504539 h 657320"/>
                <a:gd name="connsiteX22" fmla="*/ 246507 w 488061"/>
                <a:gd name="connsiteY22" fmla="*/ 538258 h 657320"/>
                <a:gd name="connsiteX23" fmla="*/ 180499 w 488061"/>
                <a:gd name="connsiteY23" fmla="*/ 503682 h 657320"/>
                <a:gd name="connsiteX24" fmla="*/ 155258 w 488061"/>
                <a:gd name="connsiteY24" fmla="*/ 417290 h 65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8061" h="657320">
                  <a:moveTo>
                    <a:pt x="488061" y="0"/>
                  </a:moveTo>
                  <a:lnTo>
                    <a:pt x="337375" y="0"/>
                  </a:lnTo>
                  <a:lnTo>
                    <a:pt x="337375" y="255270"/>
                  </a:lnTo>
                  <a:lnTo>
                    <a:pt x="335756" y="255270"/>
                  </a:lnTo>
                  <a:cubicBezTo>
                    <a:pt x="316706" y="230029"/>
                    <a:pt x="294799" y="212027"/>
                    <a:pt x="269748" y="201073"/>
                  </a:cubicBezTo>
                  <a:cubicBezTo>
                    <a:pt x="244793" y="191834"/>
                    <a:pt x="216884" y="187166"/>
                    <a:pt x="186214" y="187166"/>
                  </a:cubicBezTo>
                  <a:cubicBezTo>
                    <a:pt x="126206" y="188595"/>
                    <a:pt x="80296" y="212408"/>
                    <a:pt x="48578" y="258699"/>
                  </a:cubicBezTo>
                  <a:cubicBezTo>
                    <a:pt x="16193" y="304133"/>
                    <a:pt x="0" y="355949"/>
                    <a:pt x="0" y="414052"/>
                  </a:cubicBezTo>
                  <a:cubicBezTo>
                    <a:pt x="0" y="481965"/>
                    <a:pt x="17240" y="538925"/>
                    <a:pt x="51721" y="584930"/>
                  </a:cubicBezTo>
                  <a:cubicBezTo>
                    <a:pt x="85153" y="631793"/>
                    <a:pt x="134112" y="655892"/>
                    <a:pt x="198787" y="657320"/>
                  </a:cubicBezTo>
                  <a:cubicBezTo>
                    <a:pt x="234315" y="656749"/>
                    <a:pt x="265748" y="647795"/>
                    <a:pt x="292894" y="630555"/>
                  </a:cubicBezTo>
                  <a:cubicBezTo>
                    <a:pt x="319754" y="613410"/>
                    <a:pt x="338138" y="592265"/>
                    <a:pt x="347853" y="566928"/>
                  </a:cubicBezTo>
                  <a:lnTo>
                    <a:pt x="349853" y="566928"/>
                  </a:lnTo>
                  <a:lnTo>
                    <a:pt x="349853" y="646938"/>
                  </a:lnTo>
                  <a:lnTo>
                    <a:pt x="487966" y="646938"/>
                  </a:lnTo>
                  <a:lnTo>
                    <a:pt x="487966" y="0"/>
                  </a:lnTo>
                  <a:close/>
                  <a:moveTo>
                    <a:pt x="155067" y="417386"/>
                  </a:moveTo>
                  <a:cubicBezTo>
                    <a:pt x="155067" y="386525"/>
                    <a:pt x="163163" y="360331"/>
                    <a:pt x="179546" y="338995"/>
                  </a:cubicBezTo>
                  <a:cubicBezTo>
                    <a:pt x="194501" y="317659"/>
                    <a:pt x="216789" y="306705"/>
                    <a:pt x="246412" y="306134"/>
                  </a:cubicBezTo>
                  <a:cubicBezTo>
                    <a:pt x="274701" y="306705"/>
                    <a:pt x="296799" y="317659"/>
                    <a:pt x="312896" y="338995"/>
                  </a:cubicBezTo>
                  <a:cubicBezTo>
                    <a:pt x="329184" y="360331"/>
                    <a:pt x="337566" y="388525"/>
                    <a:pt x="338138" y="423672"/>
                  </a:cubicBezTo>
                  <a:cubicBezTo>
                    <a:pt x="337566" y="456819"/>
                    <a:pt x="328613" y="483775"/>
                    <a:pt x="311277" y="504539"/>
                  </a:cubicBezTo>
                  <a:cubicBezTo>
                    <a:pt x="294132" y="526447"/>
                    <a:pt x="272510" y="537686"/>
                    <a:pt x="246507" y="538258"/>
                  </a:cubicBezTo>
                  <a:cubicBezTo>
                    <a:pt x="217932" y="538258"/>
                    <a:pt x="195929" y="526733"/>
                    <a:pt x="180499" y="503682"/>
                  </a:cubicBezTo>
                  <a:cubicBezTo>
                    <a:pt x="163640" y="482346"/>
                    <a:pt x="155258" y="453581"/>
                    <a:pt x="155258" y="4172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DB0B1E6-F3C7-A879-06E9-906053C31ED6}"/>
                </a:ext>
              </a:extLst>
            </p:cNvPr>
            <p:cNvSpPr/>
            <p:nvPr/>
          </p:nvSpPr>
          <p:spPr>
            <a:xfrm>
              <a:off x="5019008" y="3090862"/>
              <a:ext cx="485298" cy="679344"/>
            </a:xfrm>
            <a:custGeom>
              <a:avLst/>
              <a:gdLst>
                <a:gd name="connsiteX0" fmla="*/ 6001 w 485298"/>
                <a:gd name="connsiteY0" fmla="*/ 650938 h 679344"/>
                <a:gd name="connsiteX1" fmla="*/ 199549 w 485298"/>
                <a:gd name="connsiteY1" fmla="*/ 679323 h 679344"/>
                <a:gd name="connsiteX2" fmla="*/ 397192 w 485298"/>
                <a:gd name="connsiteY2" fmla="*/ 633889 h 679344"/>
                <a:gd name="connsiteX3" fmla="*/ 485299 w 485298"/>
                <a:gd name="connsiteY3" fmla="*/ 462915 h 679344"/>
                <a:gd name="connsiteX4" fmla="*/ 472916 w 485298"/>
                <a:gd name="connsiteY4" fmla="*/ 386620 h 679344"/>
                <a:gd name="connsiteX5" fmla="*/ 437579 w 485298"/>
                <a:gd name="connsiteY5" fmla="*/ 334709 h 679344"/>
                <a:gd name="connsiteX6" fmla="*/ 388430 w 485298"/>
                <a:gd name="connsiteY6" fmla="*/ 299752 h 679344"/>
                <a:gd name="connsiteX7" fmla="*/ 330994 w 485298"/>
                <a:gd name="connsiteY7" fmla="*/ 277273 h 679344"/>
                <a:gd name="connsiteX8" fmla="*/ 275368 w 485298"/>
                <a:gd name="connsiteY8" fmla="*/ 259366 h 679344"/>
                <a:gd name="connsiteX9" fmla="*/ 224790 w 485298"/>
                <a:gd name="connsiteY9" fmla="*/ 243269 h 679344"/>
                <a:gd name="connsiteX10" fmla="*/ 188976 w 485298"/>
                <a:gd name="connsiteY10" fmla="*/ 222599 h 679344"/>
                <a:gd name="connsiteX11" fmla="*/ 174784 w 485298"/>
                <a:gd name="connsiteY11" fmla="*/ 190881 h 679344"/>
                <a:gd name="connsiteX12" fmla="*/ 218123 w 485298"/>
                <a:gd name="connsiteY12" fmla="*/ 138017 h 679344"/>
                <a:gd name="connsiteX13" fmla="*/ 256889 w 485298"/>
                <a:gd name="connsiteY13" fmla="*/ 130683 h 679344"/>
                <a:gd name="connsiteX14" fmla="*/ 292894 w 485298"/>
                <a:gd name="connsiteY14" fmla="*/ 129731 h 679344"/>
                <a:gd name="connsiteX15" fmla="*/ 439674 w 485298"/>
                <a:gd name="connsiteY15" fmla="*/ 159639 h 679344"/>
                <a:gd name="connsiteX16" fmla="*/ 450723 w 485298"/>
                <a:gd name="connsiteY16" fmla="*/ 24289 h 679344"/>
                <a:gd name="connsiteX17" fmla="*/ 283369 w 485298"/>
                <a:gd name="connsiteY17" fmla="*/ 0 h 679344"/>
                <a:gd name="connsiteX18" fmla="*/ 184690 w 485298"/>
                <a:gd name="connsiteY18" fmla="*/ 8287 h 679344"/>
                <a:gd name="connsiteX19" fmla="*/ 93250 w 485298"/>
                <a:gd name="connsiteY19" fmla="*/ 40481 h 679344"/>
                <a:gd name="connsiteX20" fmla="*/ 26860 w 485298"/>
                <a:gd name="connsiteY20" fmla="*/ 102489 h 679344"/>
                <a:gd name="connsiteX21" fmla="*/ 0 w 485298"/>
                <a:gd name="connsiteY21" fmla="*/ 201263 h 679344"/>
                <a:gd name="connsiteX22" fmla="*/ 50101 w 485298"/>
                <a:gd name="connsiteY22" fmla="*/ 328517 h 679344"/>
                <a:gd name="connsiteX23" fmla="*/ 100584 w 485298"/>
                <a:gd name="connsiteY23" fmla="*/ 362998 h 679344"/>
                <a:gd name="connsiteX24" fmla="*/ 156210 w 485298"/>
                <a:gd name="connsiteY24" fmla="*/ 386906 h 679344"/>
                <a:gd name="connsiteX25" fmla="*/ 213646 w 485298"/>
                <a:gd name="connsiteY25" fmla="*/ 404813 h 679344"/>
                <a:gd name="connsiteX26" fmla="*/ 262319 w 485298"/>
                <a:gd name="connsiteY26" fmla="*/ 422720 h 679344"/>
                <a:gd name="connsiteX27" fmla="*/ 298133 w 485298"/>
                <a:gd name="connsiteY27" fmla="*/ 447104 h 679344"/>
                <a:gd name="connsiteX28" fmla="*/ 310515 w 485298"/>
                <a:gd name="connsiteY28" fmla="*/ 485680 h 679344"/>
                <a:gd name="connsiteX29" fmla="*/ 277368 w 485298"/>
                <a:gd name="connsiteY29" fmla="*/ 537115 h 679344"/>
                <a:gd name="connsiteX30" fmla="*/ 201835 w 485298"/>
                <a:gd name="connsiteY30" fmla="*/ 549497 h 679344"/>
                <a:gd name="connsiteX31" fmla="*/ 20860 w 485298"/>
                <a:gd name="connsiteY31" fmla="*/ 506254 h 679344"/>
                <a:gd name="connsiteX32" fmla="*/ 6191 w 485298"/>
                <a:gd name="connsiteY32" fmla="*/ 650843 h 67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85298" h="679344">
                  <a:moveTo>
                    <a:pt x="6001" y="650938"/>
                  </a:moveTo>
                  <a:cubicBezTo>
                    <a:pt x="69342" y="669893"/>
                    <a:pt x="133826" y="679323"/>
                    <a:pt x="199549" y="679323"/>
                  </a:cubicBezTo>
                  <a:cubicBezTo>
                    <a:pt x="275273" y="679990"/>
                    <a:pt x="341090" y="664845"/>
                    <a:pt x="397192" y="633889"/>
                  </a:cubicBezTo>
                  <a:cubicBezTo>
                    <a:pt x="454152" y="602647"/>
                    <a:pt x="483489" y="545687"/>
                    <a:pt x="485299" y="462915"/>
                  </a:cubicBezTo>
                  <a:cubicBezTo>
                    <a:pt x="485299" y="432530"/>
                    <a:pt x="481203" y="407194"/>
                    <a:pt x="472916" y="386620"/>
                  </a:cubicBezTo>
                  <a:cubicBezTo>
                    <a:pt x="464344" y="365760"/>
                    <a:pt x="452533" y="348520"/>
                    <a:pt x="437579" y="334709"/>
                  </a:cubicBezTo>
                  <a:cubicBezTo>
                    <a:pt x="423196" y="320897"/>
                    <a:pt x="406813" y="309277"/>
                    <a:pt x="388430" y="299752"/>
                  </a:cubicBezTo>
                  <a:cubicBezTo>
                    <a:pt x="370427" y="290513"/>
                    <a:pt x="351187" y="283083"/>
                    <a:pt x="330994" y="277273"/>
                  </a:cubicBezTo>
                  <a:cubicBezTo>
                    <a:pt x="312325" y="271177"/>
                    <a:pt x="293751" y="265176"/>
                    <a:pt x="275368" y="259366"/>
                  </a:cubicBezTo>
                  <a:cubicBezTo>
                    <a:pt x="256699" y="253841"/>
                    <a:pt x="239840" y="248507"/>
                    <a:pt x="224790" y="243269"/>
                  </a:cubicBezTo>
                  <a:cubicBezTo>
                    <a:pt x="209740" y="237744"/>
                    <a:pt x="197834" y="230886"/>
                    <a:pt x="188976" y="222599"/>
                  </a:cubicBezTo>
                  <a:cubicBezTo>
                    <a:pt x="179451" y="214598"/>
                    <a:pt x="174784" y="204026"/>
                    <a:pt x="174784" y="190881"/>
                  </a:cubicBezTo>
                  <a:cubicBezTo>
                    <a:pt x="176022" y="162687"/>
                    <a:pt x="190500" y="145066"/>
                    <a:pt x="218123" y="138017"/>
                  </a:cubicBezTo>
                  <a:cubicBezTo>
                    <a:pt x="230696" y="134303"/>
                    <a:pt x="243650" y="131921"/>
                    <a:pt x="256889" y="130683"/>
                  </a:cubicBezTo>
                  <a:cubicBezTo>
                    <a:pt x="270129" y="130112"/>
                    <a:pt x="282131" y="129731"/>
                    <a:pt x="292894" y="129731"/>
                  </a:cubicBezTo>
                  <a:cubicBezTo>
                    <a:pt x="343948" y="129731"/>
                    <a:pt x="392906" y="139732"/>
                    <a:pt x="439674" y="159639"/>
                  </a:cubicBezTo>
                  <a:lnTo>
                    <a:pt x="450723" y="24289"/>
                  </a:lnTo>
                  <a:cubicBezTo>
                    <a:pt x="404336" y="8668"/>
                    <a:pt x="348520" y="572"/>
                    <a:pt x="283369" y="0"/>
                  </a:cubicBezTo>
                  <a:cubicBezTo>
                    <a:pt x="250317" y="0"/>
                    <a:pt x="217456" y="2762"/>
                    <a:pt x="184690" y="8287"/>
                  </a:cubicBezTo>
                  <a:cubicBezTo>
                    <a:pt x="151638" y="14764"/>
                    <a:pt x="121158" y="25432"/>
                    <a:pt x="93250" y="40481"/>
                  </a:cubicBezTo>
                  <a:cubicBezTo>
                    <a:pt x="66008" y="55531"/>
                    <a:pt x="43815" y="76200"/>
                    <a:pt x="26860" y="102489"/>
                  </a:cubicBezTo>
                  <a:cubicBezTo>
                    <a:pt x="8953" y="128873"/>
                    <a:pt x="0" y="161735"/>
                    <a:pt x="0" y="201263"/>
                  </a:cubicBezTo>
                  <a:cubicBezTo>
                    <a:pt x="572" y="259175"/>
                    <a:pt x="17240" y="301562"/>
                    <a:pt x="50101" y="328517"/>
                  </a:cubicBezTo>
                  <a:cubicBezTo>
                    <a:pt x="65151" y="342329"/>
                    <a:pt x="81915" y="353759"/>
                    <a:pt x="100584" y="362998"/>
                  </a:cubicBezTo>
                  <a:cubicBezTo>
                    <a:pt x="118967" y="372523"/>
                    <a:pt x="137446" y="380429"/>
                    <a:pt x="156210" y="386906"/>
                  </a:cubicBezTo>
                  <a:cubicBezTo>
                    <a:pt x="176403" y="393001"/>
                    <a:pt x="195548" y="399002"/>
                    <a:pt x="213646" y="404813"/>
                  </a:cubicBezTo>
                  <a:cubicBezTo>
                    <a:pt x="231648" y="410337"/>
                    <a:pt x="247936" y="416243"/>
                    <a:pt x="262319" y="422720"/>
                  </a:cubicBezTo>
                  <a:cubicBezTo>
                    <a:pt x="277654" y="428816"/>
                    <a:pt x="289560" y="436912"/>
                    <a:pt x="298133" y="447104"/>
                  </a:cubicBezTo>
                  <a:cubicBezTo>
                    <a:pt x="306419" y="457200"/>
                    <a:pt x="310515" y="470059"/>
                    <a:pt x="310515" y="485680"/>
                  </a:cubicBezTo>
                  <a:cubicBezTo>
                    <a:pt x="309944" y="511397"/>
                    <a:pt x="298894" y="528542"/>
                    <a:pt x="277368" y="537115"/>
                  </a:cubicBezTo>
                  <a:cubicBezTo>
                    <a:pt x="256794" y="545973"/>
                    <a:pt x="231648" y="550164"/>
                    <a:pt x="201835" y="549497"/>
                  </a:cubicBezTo>
                  <a:cubicBezTo>
                    <a:pt x="127825" y="548259"/>
                    <a:pt x="67532" y="533876"/>
                    <a:pt x="20860" y="506254"/>
                  </a:cubicBezTo>
                  <a:lnTo>
                    <a:pt x="6191" y="65084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4B1B2BE8-2E50-A5AB-A6A3-7FA75D6C3303}"/>
                </a:ext>
              </a:extLst>
            </p:cNvPr>
            <p:cNvSpPr/>
            <p:nvPr/>
          </p:nvSpPr>
          <p:spPr>
            <a:xfrm>
              <a:off x="5557932" y="3102193"/>
              <a:ext cx="497779" cy="656752"/>
            </a:xfrm>
            <a:custGeom>
              <a:avLst/>
              <a:gdLst>
                <a:gd name="connsiteX0" fmla="*/ 0 w 497779"/>
                <a:gd name="connsiteY0" fmla="*/ 656752 h 656752"/>
                <a:gd name="connsiteX1" fmla="*/ 169354 w 497779"/>
                <a:gd name="connsiteY1" fmla="*/ 656752 h 656752"/>
                <a:gd name="connsiteX2" fmla="*/ 169354 w 497779"/>
                <a:gd name="connsiteY2" fmla="*/ 427104 h 656752"/>
                <a:gd name="connsiteX3" fmla="*/ 236982 w 497779"/>
                <a:gd name="connsiteY3" fmla="*/ 427104 h 656752"/>
                <a:gd name="connsiteX4" fmla="*/ 497777 w 497779"/>
                <a:gd name="connsiteY4" fmla="*/ 215649 h 656752"/>
                <a:gd name="connsiteX5" fmla="*/ 206407 w 497779"/>
                <a:gd name="connsiteY5" fmla="*/ 3 h 656752"/>
                <a:gd name="connsiteX6" fmla="*/ 0 w 497779"/>
                <a:gd name="connsiteY6" fmla="*/ 3 h 656752"/>
                <a:gd name="connsiteX7" fmla="*/ 0 w 497779"/>
                <a:gd name="connsiteY7" fmla="*/ 656752 h 656752"/>
                <a:gd name="connsiteX8" fmla="*/ 169354 w 497779"/>
                <a:gd name="connsiteY8" fmla="*/ 124114 h 656752"/>
                <a:gd name="connsiteX9" fmla="*/ 216218 w 497779"/>
                <a:gd name="connsiteY9" fmla="*/ 124114 h 656752"/>
                <a:gd name="connsiteX10" fmla="*/ 296513 w 497779"/>
                <a:gd name="connsiteY10" fmla="*/ 142021 h 656752"/>
                <a:gd name="connsiteX11" fmla="*/ 328517 w 497779"/>
                <a:gd name="connsiteY11" fmla="*/ 212411 h 656752"/>
                <a:gd name="connsiteX12" fmla="*/ 296513 w 497779"/>
                <a:gd name="connsiteY12" fmla="*/ 283277 h 656752"/>
                <a:gd name="connsiteX13" fmla="*/ 216218 w 497779"/>
                <a:gd name="connsiteY13" fmla="*/ 302994 h 656752"/>
                <a:gd name="connsiteX14" fmla="*/ 169354 w 497779"/>
                <a:gd name="connsiteY14" fmla="*/ 302994 h 656752"/>
                <a:gd name="connsiteX15" fmla="*/ 169354 w 497779"/>
                <a:gd name="connsiteY15" fmla="*/ 124114 h 6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7779" h="656752">
                  <a:moveTo>
                    <a:pt x="0" y="656752"/>
                  </a:moveTo>
                  <a:lnTo>
                    <a:pt x="169354" y="656752"/>
                  </a:lnTo>
                  <a:lnTo>
                    <a:pt x="169354" y="427104"/>
                  </a:lnTo>
                  <a:lnTo>
                    <a:pt x="236982" y="427104"/>
                  </a:lnTo>
                  <a:cubicBezTo>
                    <a:pt x="408432" y="425295"/>
                    <a:pt x="495300" y="354810"/>
                    <a:pt x="497777" y="215649"/>
                  </a:cubicBezTo>
                  <a:cubicBezTo>
                    <a:pt x="498443" y="71346"/>
                    <a:pt x="401288" y="-568"/>
                    <a:pt x="206407" y="3"/>
                  </a:cubicBezTo>
                  <a:lnTo>
                    <a:pt x="0" y="3"/>
                  </a:lnTo>
                  <a:lnTo>
                    <a:pt x="0" y="656752"/>
                  </a:lnTo>
                  <a:close/>
                  <a:moveTo>
                    <a:pt x="169354" y="124114"/>
                  </a:moveTo>
                  <a:lnTo>
                    <a:pt x="216218" y="124114"/>
                  </a:lnTo>
                  <a:cubicBezTo>
                    <a:pt x="248126" y="124114"/>
                    <a:pt x="274891" y="130115"/>
                    <a:pt x="296513" y="142021"/>
                  </a:cubicBezTo>
                  <a:cubicBezTo>
                    <a:pt x="317182" y="155832"/>
                    <a:pt x="327946" y="179264"/>
                    <a:pt x="328517" y="212411"/>
                  </a:cubicBezTo>
                  <a:cubicBezTo>
                    <a:pt x="327946" y="245844"/>
                    <a:pt x="317182" y="269466"/>
                    <a:pt x="296513" y="283277"/>
                  </a:cubicBezTo>
                  <a:cubicBezTo>
                    <a:pt x="274891" y="297088"/>
                    <a:pt x="248126" y="303660"/>
                    <a:pt x="216218" y="302994"/>
                  </a:cubicBezTo>
                  <a:lnTo>
                    <a:pt x="169354" y="302994"/>
                  </a:lnTo>
                  <a:lnTo>
                    <a:pt x="169354" y="12411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86A3BB4-3E6C-5E12-88C6-7D458E4EC8B3}"/>
                </a:ext>
              </a:extLst>
            </p:cNvPr>
            <p:cNvSpPr/>
            <p:nvPr/>
          </p:nvSpPr>
          <p:spPr>
            <a:xfrm>
              <a:off x="5982652" y="3102196"/>
              <a:ext cx="694086" cy="656748"/>
            </a:xfrm>
            <a:custGeom>
              <a:avLst/>
              <a:gdLst>
                <a:gd name="connsiteX0" fmla="*/ 0 w 694086"/>
                <a:gd name="connsiteY0" fmla="*/ 656749 h 656748"/>
                <a:gd name="connsiteX1" fmla="*/ 172117 w 694086"/>
                <a:gd name="connsiteY1" fmla="*/ 656749 h 656748"/>
                <a:gd name="connsiteX2" fmla="*/ 222313 w 694086"/>
                <a:gd name="connsiteY2" fmla="*/ 516636 h 656748"/>
                <a:gd name="connsiteX3" fmla="*/ 461105 w 694086"/>
                <a:gd name="connsiteY3" fmla="*/ 516636 h 656748"/>
                <a:gd name="connsiteX4" fmla="*/ 508254 w 694086"/>
                <a:gd name="connsiteY4" fmla="*/ 656749 h 656748"/>
                <a:gd name="connsiteX5" fmla="*/ 694087 w 694086"/>
                <a:gd name="connsiteY5" fmla="*/ 656749 h 656748"/>
                <a:gd name="connsiteX6" fmla="*/ 449199 w 694086"/>
                <a:gd name="connsiteY6" fmla="*/ 0 h 656748"/>
                <a:gd name="connsiteX7" fmla="*/ 241459 w 694086"/>
                <a:gd name="connsiteY7" fmla="*/ 0 h 656748"/>
                <a:gd name="connsiteX8" fmla="*/ 0 w 694086"/>
                <a:gd name="connsiteY8" fmla="*/ 656749 h 656748"/>
                <a:gd name="connsiteX9" fmla="*/ 434340 w 694086"/>
                <a:gd name="connsiteY9" fmla="*/ 392430 h 656748"/>
                <a:gd name="connsiteX10" fmla="*/ 269843 w 694086"/>
                <a:gd name="connsiteY10" fmla="*/ 392430 h 656748"/>
                <a:gd name="connsiteX11" fmla="*/ 354330 w 694086"/>
                <a:gd name="connsiteY11" fmla="*/ 135350 h 656748"/>
                <a:gd name="connsiteX12" fmla="*/ 356616 w 694086"/>
                <a:gd name="connsiteY12" fmla="*/ 135350 h 656748"/>
                <a:gd name="connsiteX13" fmla="*/ 434245 w 694086"/>
                <a:gd name="connsiteY13" fmla="*/ 392430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4086" h="656748">
                  <a:moveTo>
                    <a:pt x="0" y="656749"/>
                  </a:moveTo>
                  <a:lnTo>
                    <a:pt x="172117" y="656749"/>
                  </a:lnTo>
                  <a:lnTo>
                    <a:pt x="222313" y="516636"/>
                  </a:lnTo>
                  <a:lnTo>
                    <a:pt x="461105" y="516636"/>
                  </a:lnTo>
                  <a:lnTo>
                    <a:pt x="508254" y="656749"/>
                  </a:lnTo>
                  <a:lnTo>
                    <a:pt x="694087" y="656749"/>
                  </a:lnTo>
                  <a:lnTo>
                    <a:pt x="449199" y="0"/>
                  </a:lnTo>
                  <a:lnTo>
                    <a:pt x="241459" y="0"/>
                  </a:lnTo>
                  <a:lnTo>
                    <a:pt x="0" y="656749"/>
                  </a:lnTo>
                  <a:close/>
                  <a:moveTo>
                    <a:pt x="434340" y="392430"/>
                  </a:moveTo>
                  <a:lnTo>
                    <a:pt x="269843" y="392430"/>
                  </a:lnTo>
                  <a:lnTo>
                    <a:pt x="354330" y="135350"/>
                  </a:lnTo>
                  <a:lnTo>
                    <a:pt x="356616" y="135350"/>
                  </a:lnTo>
                  <a:lnTo>
                    <a:pt x="434245" y="39243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B4948A1C-3C3C-498E-8A4A-4792A1D4E498}"/>
                </a:ext>
              </a:extLst>
            </p:cNvPr>
            <p:cNvSpPr/>
            <p:nvPr/>
          </p:nvSpPr>
          <p:spPr>
            <a:xfrm>
              <a:off x="6645973" y="3090957"/>
              <a:ext cx="554164" cy="679323"/>
            </a:xfrm>
            <a:custGeom>
              <a:avLst/>
              <a:gdLst>
                <a:gd name="connsiteX0" fmla="*/ 546259 w 554164"/>
                <a:gd name="connsiteY0" fmla="*/ 515493 h 679323"/>
                <a:gd name="connsiteX1" fmla="*/ 387286 w 554164"/>
                <a:gd name="connsiteY1" fmla="*/ 549497 h 679323"/>
                <a:gd name="connsiteX2" fmla="*/ 234982 w 554164"/>
                <a:gd name="connsiteY2" fmla="*/ 493871 h 679323"/>
                <a:gd name="connsiteX3" fmla="*/ 174879 w 554164"/>
                <a:gd name="connsiteY3" fmla="*/ 342138 h 679323"/>
                <a:gd name="connsiteX4" fmla="*/ 229648 w 554164"/>
                <a:gd name="connsiteY4" fmla="*/ 189929 h 679323"/>
                <a:gd name="connsiteX5" fmla="*/ 373475 w 554164"/>
                <a:gd name="connsiteY5" fmla="*/ 129731 h 679323"/>
                <a:gd name="connsiteX6" fmla="*/ 539591 w 554164"/>
                <a:gd name="connsiteY6" fmla="*/ 175927 h 679323"/>
                <a:gd name="connsiteX7" fmla="*/ 553402 w 554164"/>
                <a:gd name="connsiteY7" fmla="*/ 34004 h 679323"/>
                <a:gd name="connsiteX8" fmla="*/ 364617 w 554164"/>
                <a:gd name="connsiteY8" fmla="*/ 0 h 679323"/>
                <a:gd name="connsiteX9" fmla="*/ 103727 w 554164"/>
                <a:gd name="connsiteY9" fmla="*/ 84487 h 679323"/>
                <a:gd name="connsiteX10" fmla="*/ 0 w 554164"/>
                <a:gd name="connsiteY10" fmla="*/ 342138 h 679323"/>
                <a:gd name="connsiteX11" fmla="*/ 119348 w 554164"/>
                <a:gd name="connsiteY11" fmla="*/ 603028 h 679323"/>
                <a:gd name="connsiteX12" fmla="*/ 237744 w 554164"/>
                <a:gd name="connsiteY12" fmla="*/ 660464 h 679323"/>
                <a:gd name="connsiteX13" fmla="*/ 365474 w 554164"/>
                <a:gd name="connsiteY13" fmla="*/ 679323 h 679323"/>
                <a:gd name="connsiteX14" fmla="*/ 475012 w 554164"/>
                <a:gd name="connsiteY14" fmla="*/ 669703 h 679323"/>
                <a:gd name="connsiteX15" fmla="*/ 554165 w 554164"/>
                <a:gd name="connsiteY15" fmla="*/ 652748 h 679323"/>
                <a:gd name="connsiteX16" fmla="*/ 546163 w 554164"/>
                <a:gd name="connsiteY16" fmla="*/ 515588 h 67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4164" h="679323">
                  <a:moveTo>
                    <a:pt x="546259" y="515493"/>
                  </a:moveTo>
                  <a:cubicBezTo>
                    <a:pt x="498158" y="537591"/>
                    <a:pt x="445199" y="548926"/>
                    <a:pt x="387286" y="549497"/>
                  </a:cubicBezTo>
                  <a:cubicBezTo>
                    <a:pt x="324041" y="549497"/>
                    <a:pt x="273272" y="530924"/>
                    <a:pt x="234982" y="493871"/>
                  </a:cubicBezTo>
                  <a:cubicBezTo>
                    <a:pt x="195548" y="457391"/>
                    <a:pt x="175450" y="406813"/>
                    <a:pt x="174879" y="342138"/>
                  </a:cubicBezTo>
                  <a:cubicBezTo>
                    <a:pt x="175450" y="279559"/>
                    <a:pt x="193738" y="228886"/>
                    <a:pt x="229648" y="189929"/>
                  </a:cubicBezTo>
                  <a:cubicBezTo>
                    <a:pt x="264985" y="150400"/>
                    <a:pt x="312896" y="130302"/>
                    <a:pt x="373475" y="129731"/>
                  </a:cubicBezTo>
                  <a:cubicBezTo>
                    <a:pt x="430720" y="129731"/>
                    <a:pt x="486156" y="145161"/>
                    <a:pt x="539591" y="175927"/>
                  </a:cubicBezTo>
                  <a:lnTo>
                    <a:pt x="553402" y="34004"/>
                  </a:lnTo>
                  <a:cubicBezTo>
                    <a:pt x="492538" y="12573"/>
                    <a:pt x="429577" y="1238"/>
                    <a:pt x="364617" y="0"/>
                  </a:cubicBezTo>
                  <a:cubicBezTo>
                    <a:pt x="257746" y="0"/>
                    <a:pt x="170878" y="28194"/>
                    <a:pt x="103727" y="84487"/>
                  </a:cubicBezTo>
                  <a:cubicBezTo>
                    <a:pt x="35719" y="141732"/>
                    <a:pt x="1143" y="227648"/>
                    <a:pt x="0" y="342138"/>
                  </a:cubicBezTo>
                  <a:cubicBezTo>
                    <a:pt x="2381" y="464630"/>
                    <a:pt x="42196" y="551593"/>
                    <a:pt x="119348" y="603028"/>
                  </a:cubicBezTo>
                  <a:cubicBezTo>
                    <a:pt x="155257" y="629317"/>
                    <a:pt x="194786" y="648462"/>
                    <a:pt x="237744" y="660464"/>
                  </a:cubicBezTo>
                  <a:cubicBezTo>
                    <a:pt x="280511" y="673037"/>
                    <a:pt x="323088" y="679323"/>
                    <a:pt x="365474" y="679323"/>
                  </a:cubicBezTo>
                  <a:cubicBezTo>
                    <a:pt x="408527" y="678751"/>
                    <a:pt x="445008" y="675513"/>
                    <a:pt x="475012" y="669703"/>
                  </a:cubicBezTo>
                  <a:cubicBezTo>
                    <a:pt x="504634" y="664845"/>
                    <a:pt x="531114" y="659225"/>
                    <a:pt x="554165" y="652748"/>
                  </a:cubicBezTo>
                  <a:lnTo>
                    <a:pt x="546163" y="5155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640C49C1-335B-01FA-0CBD-2C057D3E7A38}"/>
                </a:ext>
              </a:extLst>
            </p:cNvPr>
            <p:cNvSpPr/>
            <p:nvPr/>
          </p:nvSpPr>
          <p:spPr>
            <a:xfrm>
              <a:off x="7261669" y="3102196"/>
              <a:ext cx="458247" cy="656748"/>
            </a:xfrm>
            <a:custGeom>
              <a:avLst/>
              <a:gdLst>
                <a:gd name="connsiteX0" fmla="*/ 0 w 458247"/>
                <a:gd name="connsiteY0" fmla="*/ 656749 h 656748"/>
                <a:gd name="connsiteX1" fmla="*/ 458248 w 458247"/>
                <a:gd name="connsiteY1" fmla="*/ 656749 h 656748"/>
                <a:gd name="connsiteX2" fmla="*/ 458248 w 458247"/>
                <a:gd name="connsiteY2" fmla="*/ 532638 h 656748"/>
                <a:gd name="connsiteX3" fmla="*/ 169164 w 458247"/>
                <a:gd name="connsiteY3" fmla="*/ 532638 h 656748"/>
                <a:gd name="connsiteX4" fmla="*/ 169164 w 458247"/>
                <a:gd name="connsiteY4" fmla="*/ 383762 h 656748"/>
                <a:gd name="connsiteX5" fmla="*/ 432911 w 458247"/>
                <a:gd name="connsiteY5" fmla="*/ 383762 h 656748"/>
                <a:gd name="connsiteX6" fmla="*/ 432911 w 458247"/>
                <a:gd name="connsiteY6" fmla="*/ 259747 h 656748"/>
                <a:gd name="connsiteX7" fmla="*/ 169164 w 458247"/>
                <a:gd name="connsiteY7" fmla="*/ 259747 h 656748"/>
                <a:gd name="connsiteX8" fmla="*/ 169164 w 458247"/>
                <a:gd name="connsiteY8" fmla="*/ 124111 h 656748"/>
                <a:gd name="connsiteX9" fmla="*/ 448056 w 458247"/>
                <a:gd name="connsiteY9" fmla="*/ 124111 h 656748"/>
                <a:gd name="connsiteX10" fmla="*/ 448056 w 458247"/>
                <a:gd name="connsiteY10" fmla="*/ 0 h 656748"/>
                <a:gd name="connsiteX11" fmla="*/ 0 w 458247"/>
                <a:gd name="connsiteY11" fmla="*/ 0 h 656748"/>
                <a:gd name="connsiteX12" fmla="*/ 0 w 458247"/>
                <a:gd name="connsiteY12" fmla="*/ 656749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8247" h="656748">
                  <a:moveTo>
                    <a:pt x="0" y="656749"/>
                  </a:moveTo>
                  <a:lnTo>
                    <a:pt x="458248" y="656749"/>
                  </a:lnTo>
                  <a:lnTo>
                    <a:pt x="458248" y="532638"/>
                  </a:lnTo>
                  <a:lnTo>
                    <a:pt x="169164" y="532638"/>
                  </a:lnTo>
                  <a:lnTo>
                    <a:pt x="169164" y="383762"/>
                  </a:lnTo>
                  <a:lnTo>
                    <a:pt x="432911" y="383762"/>
                  </a:lnTo>
                  <a:lnTo>
                    <a:pt x="432911" y="259747"/>
                  </a:lnTo>
                  <a:lnTo>
                    <a:pt x="169164" y="259747"/>
                  </a:lnTo>
                  <a:lnTo>
                    <a:pt x="169164" y="124111"/>
                  </a:lnTo>
                  <a:lnTo>
                    <a:pt x="448056" y="124111"/>
                  </a:lnTo>
                  <a:lnTo>
                    <a:pt x="448056" y="0"/>
                  </a:lnTo>
                  <a:lnTo>
                    <a:pt x="0" y="0"/>
                  </a:lnTo>
                  <a:lnTo>
                    <a:pt x="0" y="65674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55282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4676F03-CBB9-324C-ADB4-EF214BD1A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252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76F03-CBB9-324C-ADB4-EF214BD1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10DDBAD2-9F47-BFBB-8391-C5F7E23495DB}"/>
              </a:ext>
            </a:extLst>
          </p:cNvPr>
          <p:cNvSpPr txBox="1"/>
          <p:nvPr userDrawn="1"/>
        </p:nvSpPr>
        <p:spPr>
          <a:xfrm>
            <a:off x="695325" y="3733346"/>
            <a:ext cx="10091881" cy="5289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sz="3200" b="1" spc="250" baseline="0" noProof="0" dirty="0">
                <a:solidFill>
                  <a:schemeClr val="accent3"/>
                </a:solidFill>
              </a:rPr>
              <a:t>VIELEN DANK FÜR DIE AUFMERKSAMKEIT</a:t>
            </a:r>
            <a:endParaRPr lang="en-GB" sz="3200" b="0" spc="250" baseline="0" noProof="0" dirty="0">
              <a:solidFill>
                <a:schemeClr val="accent3"/>
              </a:solidFill>
              <a:ea typeface="+mn-ea"/>
              <a:cs typeface="+mn-cs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3EADD6F-97DF-5475-E034-FCD035CC9616}"/>
              </a:ext>
            </a:extLst>
          </p:cNvPr>
          <p:cNvGrpSpPr>
            <a:grpSpLocks/>
          </p:cNvGrpSpPr>
          <p:nvPr userDrawn="1"/>
        </p:nvGrpSpPr>
        <p:grpSpPr>
          <a:xfrm>
            <a:off x="9349364" y="5720643"/>
            <a:ext cx="2149692" cy="450344"/>
            <a:chOff x="4476750" y="3090862"/>
            <a:chExt cx="3243166" cy="679418"/>
          </a:xfrm>
          <a:solidFill>
            <a:schemeClr val="bg1"/>
          </a:solidFill>
        </p:grpSpPr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A5C285C-DF60-DA20-2890-5119D9802FF5}"/>
                </a:ext>
              </a:extLst>
            </p:cNvPr>
            <p:cNvSpPr/>
            <p:nvPr/>
          </p:nvSpPr>
          <p:spPr>
            <a:xfrm>
              <a:off x="4476750" y="3112007"/>
              <a:ext cx="488061" cy="657320"/>
            </a:xfrm>
            <a:custGeom>
              <a:avLst/>
              <a:gdLst>
                <a:gd name="connsiteX0" fmla="*/ 488061 w 488061"/>
                <a:gd name="connsiteY0" fmla="*/ 0 h 657320"/>
                <a:gd name="connsiteX1" fmla="*/ 337375 w 488061"/>
                <a:gd name="connsiteY1" fmla="*/ 0 h 657320"/>
                <a:gd name="connsiteX2" fmla="*/ 337375 w 488061"/>
                <a:gd name="connsiteY2" fmla="*/ 255270 h 657320"/>
                <a:gd name="connsiteX3" fmla="*/ 335756 w 488061"/>
                <a:gd name="connsiteY3" fmla="*/ 255270 h 657320"/>
                <a:gd name="connsiteX4" fmla="*/ 269748 w 488061"/>
                <a:gd name="connsiteY4" fmla="*/ 201073 h 657320"/>
                <a:gd name="connsiteX5" fmla="*/ 186214 w 488061"/>
                <a:gd name="connsiteY5" fmla="*/ 187166 h 657320"/>
                <a:gd name="connsiteX6" fmla="*/ 48578 w 488061"/>
                <a:gd name="connsiteY6" fmla="*/ 258699 h 657320"/>
                <a:gd name="connsiteX7" fmla="*/ 0 w 488061"/>
                <a:gd name="connsiteY7" fmla="*/ 414052 h 657320"/>
                <a:gd name="connsiteX8" fmla="*/ 51721 w 488061"/>
                <a:gd name="connsiteY8" fmla="*/ 584930 h 657320"/>
                <a:gd name="connsiteX9" fmla="*/ 198787 w 488061"/>
                <a:gd name="connsiteY9" fmla="*/ 657320 h 657320"/>
                <a:gd name="connsiteX10" fmla="*/ 292894 w 488061"/>
                <a:gd name="connsiteY10" fmla="*/ 630555 h 657320"/>
                <a:gd name="connsiteX11" fmla="*/ 347853 w 488061"/>
                <a:gd name="connsiteY11" fmla="*/ 566928 h 657320"/>
                <a:gd name="connsiteX12" fmla="*/ 349853 w 488061"/>
                <a:gd name="connsiteY12" fmla="*/ 566928 h 657320"/>
                <a:gd name="connsiteX13" fmla="*/ 349853 w 488061"/>
                <a:gd name="connsiteY13" fmla="*/ 646938 h 657320"/>
                <a:gd name="connsiteX14" fmla="*/ 487966 w 488061"/>
                <a:gd name="connsiteY14" fmla="*/ 646938 h 657320"/>
                <a:gd name="connsiteX15" fmla="*/ 487966 w 488061"/>
                <a:gd name="connsiteY15" fmla="*/ 0 h 657320"/>
                <a:gd name="connsiteX16" fmla="*/ 155067 w 488061"/>
                <a:gd name="connsiteY16" fmla="*/ 417386 h 657320"/>
                <a:gd name="connsiteX17" fmla="*/ 179546 w 488061"/>
                <a:gd name="connsiteY17" fmla="*/ 338995 h 657320"/>
                <a:gd name="connsiteX18" fmla="*/ 246412 w 488061"/>
                <a:gd name="connsiteY18" fmla="*/ 306134 h 657320"/>
                <a:gd name="connsiteX19" fmla="*/ 312896 w 488061"/>
                <a:gd name="connsiteY19" fmla="*/ 338995 h 657320"/>
                <a:gd name="connsiteX20" fmla="*/ 338138 w 488061"/>
                <a:gd name="connsiteY20" fmla="*/ 423672 h 657320"/>
                <a:gd name="connsiteX21" fmla="*/ 311277 w 488061"/>
                <a:gd name="connsiteY21" fmla="*/ 504539 h 657320"/>
                <a:gd name="connsiteX22" fmla="*/ 246507 w 488061"/>
                <a:gd name="connsiteY22" fmla="*/ 538258 h 657320"/>
                <a:gd name="connsiteX23" fmla="*/ 180499 w 488061"/>
                <a:gd name="connsiteY23" fmla="*/ 503682 h 657320"/>
                <a:gd name="connsiteX24" fmla="*/ 155258 w 488061"/>
                <a:gd name="connsiteY24" fmla="*/ 417290 h 65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8061" h="657320">
                  <a:moveTo>
                    <a:pt x="488061" y="0"/>
                  </a:moveTo>
                  <a:lnTo>
                    <a:pt x="337375" y="0"/>
                  </a:lnTo>
                  <a:lnTo>
                    <a:pt x="337375" y="255270"/>
                  </a:lnTo>
                  <a:lnTo>
                    <a:pt x="335756" y="255270"/>
                  </a:lnTo>
                  <a:cubicBezTo>
                    <a:pt x="316706" y="230029"/>
                    <a:pt x="294799" y="212027"/>
                    <a:pt x="269748" y="201073"/>
                  </a:cubicBezTo>
                  <a:cubicBezTo>
                    <a:pt x="244793" y="191834"/>
                    <a:pt x="216884" y="187166"/>
                    <a:pt x="186214" y="187166"/>
                  </a:cubicBezTo>
                  <a:cubicBezTo>
                    <a:pt x="126206" y="188595"/>
                    <a:pt x="80296" y="212408"/>
                    <a:pt x="48578" y="258699"/>
                  </a:cubicBezTo>
                  <a:cubicBezTo>
                    <a:pt x="16193" y="304133"/>
                    <a:pt x="0" y="355949"/>
                    <a:pt x="0" y="414052"/>
                  </a:cubicBezTo>
                  <a:cubicBezTo>
                    <a:pt x="0" y="481965"/>
                    <a:pt x="17240" y="538925"/>
                    <a:pt x="51721" y="584930"/>
                  </a:cubicBezTo>
                  <a:cubicBezTo>
                    <a:pt x="85153" y="631793"/>
                    <a:pt x="134112" y="655892"/>
                    <a:pt x="198787" y="657320"/>
                  </a:cubicBezTo>
                  <a:cubicBezTo>
                    <a:pt x="234315" y="656749"/>
                    <a:pt x="265748" y="647795"/>
                    <a:pt x="292894" y="630555"/>
                  </a:cubicBezTo>
                  <a:cubicBezTo>
                    <a:pt x="319754" y="613410"/>
                    <a:pt x="338138" y="592265"/>
                    <a:pt x="347853" y="566928"/>
                  </a:cubicBezTo>
                  <a:lnTo>
                    <a:pt x="349853" y="566928"/>
                  </a:lnTo>
                  <a:lnTo>
                    <a:pt x="349853" y="646938"/>
                  </a:lnTo>
                  <a:lnTo>
                    <a:pt x="487966" y="646938"/>
                  </a:lnTo>
                  <a:lnTo>
                    <a:pt x="487966" y="0"/>
                  </a:lnTo>
                  <a:close/>
                  <a:moveTo>
                    <a:pt x="155067" y="417386"/>
                  </a:moveTo>
                  <a:cubicBezTo>
                    <a:pt x="155067" y="386525"/>
                    <a:pt x="163163" y="360331"/>
                    <a:pt x="179546" y="338995"/>
                  </a:cubicBezTo>
                  <a:cubicBezTo>
                    <a:pt x="194501" y="317659"/>
                    <a:pt x="216789" y="306705"/>
                    <a:pt x="246412" y="306134"/>
                  </a:cubicBezTo>
                  <a:cubicBezTo>
                    <a:pt x="274701" y="306705"/>
                    <a:pt x="296799" y="317659"/>
                    <a:pt x="312896" y="338995"/>
                  </a:cubicBezTo>
                  <a:cubicBezTo>
                    <a:pt x="329184" y="360331"/>
                    <a:pt x="337566" y="388525"/>
                    <a:pt x="338138" y="423672"/>
                  </a:cubicBezTo>
                  <a:cubicBezTo>
                    <a:pt x="337566" y="456819"/>
                    <a:pt x="328613" y="483775"/>
                    <a:pt x="311277" y="504539"/>
                  </a:cubicBezTo>
                  <a:cubicBezTo>
                    <a:pt x="294132" y="526447"/>
                    <a:pt x="272510" y="537686"/>
                    <a:pt x="246507" y="538258"/>
                  </a:cubicBezTo>
                  <a:cubicBezTo>
                    <a:pt x="217932" y="538258"/>
                    <a:pt x="195929" y="526733"/>
                    <a:pt x="180499" y="503682"/>
                  </a:cubicBezTo>
                  <a:cubicBezTo>
                    <a:pt x="163640" y="482346"/>
                    <a:pt x="155258" y="453581"/>
                    <a:pt x="155258" y="4172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8A12262D-E8FC-7FD5-8212-516393D0563C}"/>
                </a:ext>
              </a:extLst>
            </p:cNvPr>
            <p:cNvSpPr/>
            <p:nvPr/>
          </p:nvSpPr>
          <p:spPr>
            <a:xfrm>
              <a:off x="5019008" y="3090862"/>
              <a:ext cx="485298" cy="679344"/>
            </a:xfrm>
            <a:custGeom>
              <a:avLst/>
              <a:gdLst>
                <a:gd name="connsiteX0" fmla="*/ 6001 w 485298"/>
                <a:gd name="connsiteY0" fmla="*/ 650938 h 679344"/>
                <a:gd name="connsiteX1" fmla="*/ 199549 w 485298"/>
                <a:gd name="connsiteY1" fmla="*/ 679323 h 679344"/>
                <a:gd name="connsiteX2" fmla="*/ 397192 w 485298"/>
                <a:gd name="connsiteY2" fmla="*/ 633889 h 679344"/>
                <a:gd name="connsiteX3" fmla="*/ 485299 w 485298"/>
                <a:gd name="connsiteY3" fmla="*/ 462915 h 679344"/>
                <a:gd name="connsiteX4" fmla="*/ 472916 w 485298"/>
                <a:gd name="connsiteY4" fmla="*/ 386620 h 679344"/>
                <a:gd name="connsiteX5" fmla="*/ 437579 w 485298"/>
                <a:gd name="connsiteY5" fmla="*/ 334709 h 679344"/>
                <a:gd name="connsiteX6" fmla="*/ 388430 w 485298"/>
                <a:gd name="connsiteY6" fmla="*/ 299752 h 679344"/>
                <a:gd name="connsiteX7" fmla="*/ 330994 w 485298"/>
                <a:gd name="connsiteY7" fmla="*/ 277273 h 679344"/>
                <a:gd name="connsiteX8" fmla="*/ 275368 w 485298"/>
                <a:gd name="connsiteY8" fmla="*/ 259366 h 679344"/>
                <a:gd name="connsiteX9" fmla="*/ 224790 w 485298"/>
                <a:gd name="connsiteY9" fmla="*/ 243269 h 679344"/>
                <a:gd name="connsiteX10" fmla="*/ 188976 w 485298"/>
                <a:gd name="connsiteY10" fmla="*/ 222599 h 679344"/>
                <a:gd name="connsiteX11" fmla="*/ 174784 w 485298"/>
                <a:gd name="connsiteY11" fmla="*/ 190881 h 679344"/>
                <a:gd name="connsiteX12" fmla="*/ 218123 w 485298"/>
                <a:gd name="connsiteY12" fmla="*/ 138017 h 679344"/>
                <a:gd name="connsiteX13" fmla="*/ 256889 w 485298"/>
                <a:gd name="connsiteY13" fmla="*/ 130683 h 679344"/>
                <a:gd name="connsiteX14" fmla="*/ 292894 w 485298"/>
                <a:gd name="connsiteY14" fmla="*/ 129731 h 679344"/>
                <a:gd name="connsiteX15" fmla="*/ 439674 w 485298"/>
                <a:gd name="connsiteY15" fmla="*/ 159639 h 679344"/>
                <a:gd name="connsiteX16" fmla="*/ 450723 w 485298"/>
                <a:gd name="connsiteY16" fmla="*/ 24289 h 679344"/>
                <a:gd name="connsiteX17" fmla="*/ 283369 w 485298"/>
                <a:gd name="connsiteY17" fmla="*/ 0 h 679344"/>
                <a:gd name="connsiteX18" fmla="*/ 184690 w 485298"/>
                <a:gd name="connsiteY18" fmla="*/ 8287 h 679344"/>
                <a:gd name="connsiteX19" fmla="*/ 93250 w 485298"/>
                <a:gd name="connsiteY19" fmla="*/ 40481 h 679344"/>
                <a:gd name="connsiteX20" fmla="*/ 26860 w 485298"/>
                <a:gd name="connsiteY20" fmla="*/ 102489 h 679344"/>
                <a:gd name="connsiteX21" fmla="*/ 0 w 485298"/>
                <a:gd name="connsiteY21" fmla="*/ 201263 h 679344"/>
                <a:gd name="connsiteX22" fmla="*/ 50101 w 485298"/>
                <a:gd name="connsiteY22" fmla="*/ 328517 h 679344"/>
                <a:gd name="connsiteX23" fmla="*/ 100584 w 485298"/>
                <a:gd name="connsiteY23" fmla="*/ 362998 h 679344"/>
                <a:gd name="connsiteX24" fmla="*/ 156210 w 485298"/>
                <a:gd name="connsiteY24" fmla="*/ 386906 h 679344"/>
                <a:gd name="connsiteX25" fmla="*/ 213646 w 485298"/>
                <a:gd name="connsiteY25" fmla="*/ 404813 h 679344"/>
                <a:gd name="connsiteX26" fmla="*/ 262319 w 485298"/>
                <a:gd name="connsiteY26" fmla="*/ 422720 h 679344"/>
                <a:gd name="connsiteX27" fmla="*/ 298133 w 485298"/>
                <a:gd name="connsiteY27" fmla="*/ 447104 h 679344"/>
                <a:gd name="connsiteX28" fmla="*/ 310515 w 485298"/>
                <a:gd name="connsiteY28" fmla="*/ 485680 h 679344"/>
                <a:gd name="connsiteX29" fmla="*/ 277368 w 485298"/>
                <a:gd name="connsiteY29" fmla="*/ 537115 h 679344"/>
                <a:gd name="connsiteX30" fmla="*/ 201835 w 485298"/>
                <a:gd name="connsiteY30" fmla="*/ 549497 h 679344"/>
                <a:gd name="connsiteX31" fmla="*/ 20860 w 485298"/>
                <a:gd name="connsiteY31" fmla="*/ 506254 h 679344"/>
                <a:gd name="connsiteX32" fmla="*/ 6191 w 485298"/>
                <a:gd name="connsiteY32" fmla="*/ 650843 h 67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85298" h="679344">
                  <a:moveTo>
                    <a:pt x="6001" y="650938"/>
                  </a:moveTo>
                  <a:cubicBezTo>
                    <a:pt x="69342" y="669893"/>
                    <a:pt x="133826" y="679323"/>
                    <a:pt x="199549" y="679323"/>
                  </a:cubicBezTo>
                  <a:cubicBezTo>
                    <a:pt x="275273" y="679990"/>
                    <a:pt x="341090" y="664845"/>
                    <a:pt x="397192" y="633889"/>
                  </a:cubicBezTo>
                  <a:cubicBezTo>
                    <a:pt x="454152" y="602647"/>
                    <a:pt x="483489" y="545687"/>
                    <a:pt x="485299" y="462915"/>
                  </a:cubicBezTo>
                  <a:cubicBezTo>
                    <a:pt x="485299" y="432530"/>
                    <a:pt x="481203" y="407194"/>
                    <a:pt x="472916" y="386620"/>
                  </a:cubicBezTo>
                  <a:cubicBezTo>
                    <a:pt x="464344" y="365760"/>
                    <a:pt x="452533" y="348520"/>
                    <a:pt x="437579" y="334709"/>
                  </a:cubicBezTo>
                  <a:cubicBezTo>
                    <a:pt x="423196" y="320897"/>
                    <a:pt x="406813" y="309277"/>
                    <a:pt x="388430" y="299752"/>
                  </a:cubicBezTo>
                  <a:cubicBezTo>
                    <a:pt x="370427" y="290513"/>
                    <a:pt x="351187" y="283083"/>
                    <a:pt x="330994" y="277273"/>
                  </a:cubicBezTo>
                  <a:cubicBezTo>
                    <a:pt x="312325" y="271177"/>
                    <a:pt x="293751" y="265176"/>
                    <a:pt x="275368" y="259366"/>
                  </a:cubicBezTo>
                  <a:cubicBezTo>
                    <a:pt x="256699" y="253841"/>
                    <a:pt x="239840" y="248507"/>
                    <a:pt x="224790" y="243269"/>
                  </a:cubicBezTo>
                  <a:cubicBezTo>
                    <a:pt x="209740" y="237744"/>
                    <a:pt x="197834" y="230886"/>
                    <a:pt x="188976" y="222599"/>
                  </a:cubicBezTo>
                  <a:cubicBezTo>
                    <a:pt x="179451" y="214598"/>
                    <a:pt x="174784" y="204026"/>
                    <a:pt x="174784" y="190881"/>
                  </a:cubicBezTo>
                  <a:cubicBezTo>
                    <a:pt x="176022" y="162687"/>
                    <a:pt x="190500" y="145066"/>
                    <a:pt x="218123" y="138017"/>
                  </a:cubicBezTo>
                  <a:cubicBezTo>
                    <a:pt x="230696" y="134303"/>
                    <a:pt x="243650" y="131921"/>
                    <a:pt x="256889" y="130683"/>
                  </a:cubicBezTo>
                  <a:cubicBezTo>
                    <a:pt x="270129" y="130112"/>
                    <a:pt x="282131" y="129731"/>
                    <a:pt x="292894" y="129731"/>
                  </a:cubicBezTo>
                  <a:cubicBezTo>
                    <a:pt x="343948" y="129731"/>
                    <a:pt x="392906" y="139732"/>
                    <a:pt x="439674" y="159639"/>
                  </a:cubicBezTo>
                  <a:lnTo>
                    <a:pt x="450723" y="24289"/>
                  </a:lnTo>
                  <a:cubicBezTo>
                    <a:pt x="404336" y="8668"/>
                    <a:pt x="348520" y="572"/>
                    <a:pt x="283369" y="0"/>
                  </a:cubicBezTo>
                  <a:cubicBezTo>
                    <a:pt x="250317" y="0"/>
                    <a:pt x="217456" y="2762"/>
                    <a:pt x="184690" y="8287"/>
                  </a:cubicBezTo>
                  <a:cubicBezTo>
                    <a:pt x="151638" y="14764"/>
                    <a:pt x="121158" y="25432"/>
                    <a:pt x="93250" y="40481"/>
                  </a:cubicBezTo>
                  <a:cubicBezTo>
                    <a:pt x="66008" y="55531"/>
                    <a:pt x="43815" y="76200"/>
                    <a:pt x="26860" y="102489"/>
                  </a:cubicBezTo>
                  <a:cubicBezTo>
                    <a:pt x="8953" y="128873"/>
                    <a:pt x="0" y="161735"/>
                    <a:pt x="0" y="201263"/>
                  </a:cubicBezTo>
                  <a:cubicBezTo>
                    <a:pt x="572" y="259175"/>
                    <a:pt x="17240" y="301562"/>
                    <a:pt x="50101" y="328517"/>
                  </a:cubicBezTo>
                  <a:cubicBezTo>
                    <a:pt x="65151" y="342329"/>
                    <a:pt x="81915" y="353759"/>
                    <a:pt x="100584" y="362998"/>
                  </a:cubicBezTo>
                  <a:cubicBezTo>
                    <a:pt x="118967" y="372523"/>
                    <a:pt x="137446" y="380429"/>
                    <a:pt x="156210" y="386906"/>
                  </a:cubicBezTo>
                  <a:cubicBezTo>
                    <a:pt x="176403" y="393001"/>
                    <a:pt x="195548" y="399002"/>
                    <a:pt x="213646" y="404813"/>
                  </a:cubicBezTo>
                  <a:cubicBezTo>
                    <a:pt x="231648" y="410337"/>
                    <a:pt x="247936" y="416243"/>
                    <a:pt x="262319" y="422720"/>
                  </a:cubicBezTo>
                  <a:cubicBezTo>
                    <a:pt x="277654" y="428816"/>
                    <a:pt x="289560" y="436912"/>
                    <a:pt x="298133" y="447104"/>
                  </a:cubicBezTo>
                  <a:cubicBezTo>
                    <a:pt x="306419" y="457200"/>
                    <a:pt x="310515" y="470059"/>
                    <a:pt x="310515" y="485680"/>
                  </a:cubicBezTo>
                  <a:cubicBezTo>
                    <a:pt x="309944" y="511397"/>
                    <a:pt x="298894" y="528542"/>
                    <a:pt x="277368" y="537115"/>
                  </a:cubicBezTo>
                  <a:cubicBezTo>
                    <a:pt x="256794" y="545973"/>
                    <a:pt x="231648" y="550164"/>
                    <a:pt x="201835" y="549497"/>
                  </a:cubicBezTo>
                  <a:cubicBezTo>
                    <a:pt x="127825" y="548259"/>
                    <a:pt x="67532" y="533876"/>
                    <a:pt x="20860" y="506254"/>
                  </a:cubicBezTo>
                  <a:lnTo>
                    <a:pt x="6191" y="65084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3DE4410-7922-CD84-5827-F50A68F72582}"/>
                </a:ext>
              </a:extLst>
            </p:cNvPr>
            <p:cNvSpPr/>
            <p:nvPr/>
          </p:nvSpPr>
          <p:spPr>
            <a:xfrm>
              <a:off x="5557932" y="3102193"/>
              <a:ext cx="497779" cy="656752"/>
            </a:xfrm>
            <a:custGeom>
              <a:avLst/>
              <a:gdLst>
                <a:gd name="connsiteX0" fmla="*/ 0 w 497779"/>
                <a:gd name="connsiteY0" fmla="*/ 656752 h 656752"/>
                <a:gd name="connsiteX1" fmla="*/ 169354 w 497779"/>
                <a:gd name="connsiteY1" fmla="*/ 656752 h 656752"/>
                <a:gd name="connsiteX2" fmla="*/ 169354 w 497779"/>
                <a:gd name="connsiteY2" fmla="*/ 427104 h 656752"/>
                <a:gd name="connsiteX3" fmla="*/ 236982 w 497779"/>
                <a:gd name="connsiteY3" fmla="*/ 427104 h 656752"/>
                <a:gd name="connsiteX4" fmla="*/ 497777 w 497779"/>
                <a:gd name="connsiteY4" fmla="*/ 215649 h 656752"/>
                <a:gd name="connsiteX5" fmla="*/ 206407 w 497779"/>
                <a:gd name="connsiteY5" fmla="*/ 3 h 656752"/>
                <a:gd name="connsiteX6" fmla="*/ 0 w 497779"/>
                <a:gd name="connsiteY6" fmla="*/ 3 h 656752"/>
                <a:gd name="connsiteX7" fmla="*/ 0 w 497779"/>
                <a:gd name="connsiteY7" fmla="*/ 656752 h 656752"/>
                <a:gd name="connsiteX8" fmla="*/ 169354 w 497779"/>
                <a:gd name="connsiteY8" fmla="*/ 124114 h 656752"/>
                <a:gd name="connsiteX9" fmla="*/ 216218 w 497779"/>
                <a:gd name="connsiteY9" fmla="*/ 124114 h 656752"/>
                <a:gd name="connsiteX10" fmla="*/ 296513 w 497779"/>
                <a:gd name="connsiteY10" fmla="*/ 142021 h 656752"/>
                <a:gd name="connsiteX11" fmla="*/ 328517 w 497779"/>
                <a:gd name="connsiteY11" fmla="*/ 212411 h 656752"/>
                <a:gd name="connsiteX12" fmla="*/ 296513 w 497779"/>
                <a:gd name="connsiteY12" fmla="*/ 283277 h 656752"/>
                <a:gd name="connsiteX13" fmla="*/ 216218 w 497779"/>
                <a:gd name="connsiteY13" fmla="*/ 302994 h 656752"/>
                <a:gd name="connsiteX14" fmla="*/ 169354 w 497779"/>
                <a:gd name="connsiteY14" fmla="*/ 302994 h 656752"/>
                <a:gd name="connsiteX15" fmla="*/ 169354 w 497779"/>
                <a:gd name="connsiteY15" fmla="*/ 124114 h 6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7779" h="656752">
                  <a:moveTo>
                    <a:pt x="0" y="656752"/>
                  </a:moveTo>
                  <a:lnTo>
                    <a:pt x="169354" y="656752"/>
                  </a:lnTo>
                  <a:lnTo>
                    <a:pt x="169354" y="427104"/>
                  </a:lnTo>
                  <a:lnTo>
                    <a:pt x="236982" y="427104"/>
                  </a:lnTo>
                  <a:cubicBezTo>
                    <a:pt x="408432" y="425295"/>
                    <a:pt x="495300" y="354810"/>
                    <a:pt x="497777" y="215649"/>
                  </a:cubicBezTo>
                  <a:cubicBezTo>
                    <a:pt x="498443" y="71346"/>
                    <a:pt x="401288" y="-568"/>
                    <a:pt x="206407" y="3"/>
                  </a:cubicBezTo>
                  <a:lnTo>
                    <a:pt x="0" y="3"/>
                  </a:lnTo>
                  <a:lnTo>
                    <a:pt x="0" y="656752"/>
                  </a:lnTo>
                  <a:close/>
                  <a:moveTo>
                    <a:pt x="169354" y="124114"/>
                  </a:moveTo>
                  <a:lnTo>
                    <a:pt x="216218" y="124114"/>
                  </a:lnTo>
                  <a:cubicBezTo>
                    <a:pt x="248126" y="124114"/>
                    <a:pt x="274891" y="130115"/>
                    <a:pt x="296513" y="142021"/>
                  </a:cubicBezTo>
                  <a:cubicBezTo>
                    <a:pt x="317182" y="155832"/>
                    <a:pt x="327946" y="179264"/>
                    <a:pt x="328517" y="212411"/>
                  </a:cubicBezTo>
                  <a:cubicBezTo>
                    <a:pt x="327946" y="245844"/>
                    <a:pt x="317182" y="269466"/>
                    <a:pt x="296513" y="283277"/>
                  </a:cubicBezTo>
                  <a:cubicBezTo>
                    <a:pt x="274891" y="297088"/>
                    <a:pt x="248126" y="303660"/>
                    <a:pt x="216218" y="302994"/>
                  </a:cubicBezTo>
                  <a:lnTo>
                    <a:pt x="169354" y="302994"/>
                  </a:lnTo>
                  <a:lnTo>
                    <a:pt x="169354" y="12411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1F08FCB2-4702-6E48-219F-6161D6837535}"/>
                </a:ext>
              </a:extLst>
            </p:cNvPr>
            <p:cNvSpPr/>
            <p:nvPr/>
          </p:nvSpPr>
          <p:spPr>
            <a:xfrm>
              <a:off x="5982652" y="3102196"/>
              <a:ext cx="694086" cy="656748"/>
            </a:xfrm>
            <a:custGeom>
              <a:avLst/>
              <a:gdLst>
                <a:gd name="connsiteX0" fmla="*/ 0 w 694086"/>
                <a:gd name="connsiteY0" fmla="*/ 656749 h 656748"/>
                <a:gd name="connsiteX1" fmla="*/ 172117 w 694086"/>
                <a:gd name="connsiteY1" fmla="*/ 656749 h 656748"/>
                <a:gd name="connsiteX2" fmla="*/ 222313 w 694086"/>
                <a:gd name="connsiteY2" fmla="*/ 516636 h 656748"/>
                <a:gd name="connsiteX3" fmla="*/ 461105 w 694086"/>
                <a:gd name="connsiteY3" fmla="*/ 516636 h 656748"/>
                <a:gd name="connsiteX4" fmla="*/ 508254 w 694086"/>
                <a:gd name="connsiteY4" fmla="*/ 656749 h 656748"/>
                <a:gd name="connsiteX5" fmla="*/ 694087 w 694086"/>
                <a:gd name="connsiteY5" fmla="*/ 656749 h 656748"/>
                <a:gd name="connsiteX6" fmla="*/ 449199 w 694086"/>
                <a:gd name="connsiteY6" fmla="*/ 0 h 656748"/>
                <a:gd name="connsiteX7" fmla="*/ 241459 w 694086"/>
                <a:gd name="connsiteY7" fmla="*/ 0 h 656748"/>
                <a:gd name="connsiteX8" fmla="*/ 0 w 694086"/>
                <a:gd name="connsiteY8" fmla="*/ 656749 h 656748"/>
                <a:gd name="connsiteX9" fmla="*/ 434340 w 694086"/>
                <a:gd name="connsiteY9" fmla="*/ 392430 h 656748"/>
                <a:gd name="connsiteX10" fmla="*/ 269843 w 694086"/>
                <a:gd name="connsiteY10" fmla="*/ 392430 h 656748"/>
                <a:gd name="connsiteX11" fmla="*/ 354330 w 694086"/>
                <a:gd name="connsiteY11" fmla="*/ 135350 h 656748"/>
                <a:gd name="connsiteX12" fmla="*/ 356616 w 694086"/>
                <a:gd name="connsiteY12" fmla="*/ 135350 h 656748"/>
                <a:gd name="connsiteX13" fmla="*/ 434245 w 694086"/>
                <a:gd name="connsiteY13" fmla="*/ 392430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4086" h="656748">
                  <a:moveTo>
                    <a:pt x="0" y="656749"/>
                  </a:moveTo>
                  <a:lnTo>
                    <a:pt x="172117" y="656749"/>
                  </a:lnTo>
                  <a:lnTo>
                    <a:pt x="222313" y="516636"/>
                  </a:lnTo>
                  <a:lnTo>
                    <a:pt x="461105" y="516636"/>
                  </a:lnTo>
                  <a:lnTo>
                    <a:pt x="508254" y="656749"/>
                  </a:lnTo>
                  <a:lnTo>
                    <a:pt x="694087" y="656749"/>
                  </a:lnTo>
                  <a:lnTo>
                    <a:pt x="449199" y="0"/>
                  </a:lnTo>
                  <a:lnTo>
                    <a:pt x="241459" y="0"/>
                  </a:lnTo>
                  <a:lnTo>
                    <a:pt x="0" y="656749"/>
                  </a:lnTo>
                  <a:close/>
                  <a:moveTo>
                    <a:pt x="434340" y="392430"/>
                  </a:moveTo>
                  <a:lnTo>
                    <a:pt x="269843" y="392430"/>
                  </a:lnTo>
                  <a:lnTo>
                    <a:pt x="354330" y="135350"/>
                  </a:lnTo>
                  <a:lnTo>
                    <a:pt x="356616" y="135350"/>
                  </a:lnTo>
                  <a:lnTo>
                    <a:pt x="434245" y="39243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EE5B98B-E796-E636-D282-1BD19E583A49}"/>
                </a:ext>
              </a:extLst>
            </p:cNvPr>
            <p:cNvSpPr/>
            <p:nvPr/>
          </p:nvSpPr>
          <p:spPr>
            <a:xfrm>
              <a:off x="6645973" y="3090957"/>
              <a:ext cx="554164" cy="679323"/>
            </a:xfrm>
            <a:custGeom>
              <a:avLst/>
              <a:gdLst>
                <a:gd name="connsiteX0" fmla="*/ 546259 w 554164"/>
                <a:gd name="connsiteY0" fmla="*/ 515493 h 679323"/>
                <a:gd name="connsiteX1" fmla="*/ 387286 w 554164"/>
                <a:gd name="connsiteY1" fmla="*/ 549497 h 679323"/>
                <a:gd name="connsiteX2" fmla="*/ 234982 w 554164"/>
                <a:gd name="connsiteY2" fmla="*/ 493871 h 679323"/>
                <a:gd name="connsiteX3" fmla="*/ 174879 w 554164"/>
                <a:gd name="connsiteY3" fmla="*/ 342138 h 679323"/>
                <a:gd name="connsiteX4" fmla="*/ 229648 w 554164"/>
                <a:gd name="connsiteY4" fmla="*/ 189929 h 679323"/>
                <a:gd name="connsiteX5" fmla="*/ 373475 w 554164"/>
                <a:gd name="connsiteY5" fmla="*/ 129731 h 679323"/>
                <a:gd name="connsiteX6" fmla="*/ 539591 w 554164"/>
                <a:gd name="connsiteY6" fmla="*/ 175927 h 679323"/>
                <a:gd name="connsiteX7" fmla="*/ 553402 w 554164"/>
                <a:gd name="connsiteY7" fmla="*/ 34004 h 679323"/>
                <a:gd name="connsiteX8" fmla="*/ 364617 w 554164"/>
                <a:gd name="connsiteY8" fmla="*/ 0 h 679323"/>
                <a:gd name="connsiteX9" fmla="*/ 103727 w 554164"/>
                <a:gd name="connsiteY9" fmla="*/ 84487 h 679323"/>
                <a:gd name="connsiteX10" fmla="*/ 0 w 554164"/>
                <a:gd name="connsiteY10" fmla="*/ 342138 h 679323"/>
                <a:gd name="connsiteX11" fmla="*/ 119348 w 554164"/>
                <a:gd name="connsiteY11" fmla="*/ 603028 h 679323"/>
                <a:gd name="connsiteX12" fmla="*/ 237744 w 554164"/>
                <a:gd name="connsiteY12" fmla="*/ 660464 h 679323"/>
                <a:gd name="connsiteX13" fmla="*/ 365474 w 554164"/>
                <a:gd name="connsiteY13" fmla="*/ 679323 h 679323"/>
                <a:gd name="connsiteX14" fmla="*/ 475012 w 554164"/>
                <a:gd name="connsiteY14" fmla="*/ 669703 h 679323"/>
                <a:gd name="connsiteX15" fmla="*/ 554165 w 554164"/>
                <a:gd name="connsiteY15" fmla="*/ 652748 h 679323"/>
                <a:gd name="connsiteX16" fmla="*/ 546163 w 554164"/>
                <a:gd name="connsiteY16" fmla="*/ 515588 h 67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4164" h="679323">
                  <a:moveTo>
                    <a:pt x="546259" y="515493"/>
                  </a:moveTo>
                  <a:cubicBezTo>
                    <a:pt x="498158" y="537591"/>
                    <a:pt x="445199" y="548926"/>
                    <a:pt x="387286" y="549497"/>
                  </a:cubicBezTo>
                  <a:cubicBezTo>
                    <a:pt x="324041" y="549497"/>
                    <a:pt x="273272" y="530924"/>
                    <a:pt x="234982" y="493871"/>
                  </a:cubicBezTo>
                  <a:cubicBezTo>
                    <a:pt x="195548" y="457391"/>
                    <a:pt x="175450" y="406813"/>
                    <a:pt x="174879" y="342138"/>
                  </a:cubicBezTo>
                  <a:cubicBezTo>
                    <a:pt x="175450" y="279559"/>
                    <a:pt x="193738" y="228886"/>
                    <a:pt x="229648" y="189929"/>
                  </a:cubicBezTo>
                  <a:cubicBezTo>
                    <a:pt x="264985" y="150400"/>
                    <a:pt x="312896" y="130302"/>
                    <a:pt x="373475" y="129731"/>
                  </a:cubicBezTo>
                  <a:cubicBezTo>
                    <a:pt x="430720" y="129731"/>
                    <a:pt x="486156" y="145161"/>
                    <a:pt x="539591" y="175927"/>
                  </a:cubicBezTo>
                  <a:lnTo>
                    <a:pt x="553402" y="34004"/>
                  </a:lnTo>
                  <a:cubicBezTo>
                    <a:pt x="492538" y="12573"/>
                    <a:pt x="429577" y="1238"/>
                    <a:pt x="364617" y="0"/>
                  </a:cubicBezTo>
                  <a:cubicBezTo>
                    <a:pt x="257746" y="0"/>
                    <a:pt x="170878" y="28194"/>
                    <a:pt x="103727" y="84487"/>
                  </a:cubicBezTo>
                  <a:cubicBezTo>
                    <a:pt x="35719" y="141732"/>
                    <a:pt x="1143" y="227648"/>
                    <a:pt x="0" y="342138"/>
                  </a:cubicBezTo>
                  <a:cubicBezTo>
                    <a:pt x="2381" y="464630"/>
                    <a:pt x="42196" y="551593"/>
                    <a:pt x="119348" y="603028"/>
                  </a:cubicBezTo>
                  <a:cubicBezTo>
                    <a:pt x="155257" y="629317"/>
                    <a:pt x="194786" y="648462"/>
                    <a:pt x="237744" y="660464"/>
                  </a:cubicBezTo>
                  <a:cubicBezTo>
                    <a:pt x="280511" y="673037"/>
                    <a:pt x="323088" y="679323"/>
                    <a:pt x="365474" y="679323"/>
                  </a:cubicBezTo>
                  <a:cubicBezTo>
                    <a:pt x="408527" y="678751"/>
                    <a:pt x="445008" y="675513"/>
                    <a:pt x="475012" y="669703"/>
                  </a:cubicBezTo>
                  <a:cubicBezTo>
                    <a:pt x="504634" y="664845"/>
                    <a:pt x="531114" y="659225"/>
                    <a:pt x="554165" y="652748"/>
                  </a:cubicBezTo>
                  <a:lnTo>
                    <a:pt x="546163" y="5155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52513E5-78D1-D2AF-D792-B80CD71C5466}"/>
                </a:ext>
              </a:extLst>
            </p:cNvPr>
            <p:cNvSpPr/>
            <p:nvPr/>
          </p:nvSpPr>
          <p:spPr>
            <a:xfrm>
              <a:off x="7261669" y="3102196"/>
              <a:ext cx="458247" cy="656748"/>
            </a:xfrm>
            <a:custGeom>
              <a:avLst/>
              <a:gdLst>
                <a:gd name="connsiteX0" fmla="*/ 0 w 458247"/>
                <a:gd name="connsiteY0" fmla="*/ 656749 h 656748"/>
                <a:gd name="connsiteX1" fmla="*/ 458248 w 458247"/>
                <a:gd name="connsiteY1" fmla="*/ 656749 h 656748"/>
                <a:gd name="connsiteX2" fmla="*/ 458248 w 458247"/>
                <a:gd name="connsiteY2" fmla="*/ 532638 h 656748"/>
                <a:gd name="connsiteX3" fmla="*/ 169164 w 458247"/>
                <a:gd name="connsiteY3" fmla="*/ 532638 h 656748"/>
                <a:gd name="connsiteX4" fmla="*/ 169164 w 458247"/>
                <a:gd name="connsiteY4" fmla="*/ 383762 h 656748"/>
                <a:gd name="connsiteX5" fmla="*/ 432911 w 458247"/>
                <a:gd name="connsiteY5" fmla="*/ 383762 h 656748"/>
                <a:gd name="connsiteX6" fmla="*/ 432911 w 458247"/>
                <a:gd name="connsiteY6" fmla="*/ 259747 h 656748"/>
                <a:gd name="connsiteX7" fmla="*/ 169164 w 458247"/>
                <a:gd name="connsiteY7" fmla="*/ 259747 h 656748"/>
                <a:gd name="connsiteX8" fmla="*/ 169164 w 458247"/>
                <a:gd name="connsiteY8" fmla="*/ 124111 h 656748"/>
                <a:gd name="connsiteX9" fmla="*/ 448056 w 458247"/>
                <a:gd name="connsiteY9" fmla="*/ 124111 h 656748"/>
                <a:gd name="connsiteX10" fmla="*/ 448056 w 458247"/>
                <a:gd name="connsiteY10" fmla="*/ 0 h 656748"/>
                <a:gd name="connsiteX11" fmla="*/ 0 w 458247"/>
                <a:gd name="connsiteY11" fmla="*/ 0 h 656748"/>
                <a:gd name="connsiteX12" fmla="*/ 0 w 458247"/>
                <a:gd name="connsiteY12" fmla="*/ 656749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8247" h="656748">
                  <a:moveTo>
                    <a:pt x="0" y="656749"/>
                  </a:moveTo>
                  <a:lnTo>
                    <a:pt x="458248" y="656749"/>
                  </a:lnTo>
                  <a:lnTo>
                    <a:pt x="458248" y="532638"/>
                  </a:lnTo>
                  <a:lnTo>
                    <a:pt x="169164" y="532638"/>
                  </a:lnTo>
                  <a:lnTo>
                    <a:pt x="169164" y="383762"/>
                  </a:lnTo>
                  <a:lnTo>
                    <a:pt x="432911" y="383762"/>
                  </a:lnTo>
                  <a:lnTo>
                    <a:pt x="432911" y="259747"/>
                  </a:lnTo>
                  <a:lnTo>
                    <a:pt x="169164" y="259747"/>
                  </a:lnTo>
                  <a:lnTo>
                    <a:pt x="169164" y="124111"/>
                  </a:lnTo>
                  <a:lnTo>
                    <a:pt x="448056" y="124111"/>
                  </a:lnTo>
                  <a:lnTo>
                    <a:pt x="448056" y="0"/>
                  </a:lnTo>
                  <a:lnTo>
                    <a:pt x="0" y="0"/>
                  </a:lnTo>
                  <a:lnTo>
                    <a:pt x="0" y="65674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301361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38" userDrawn="1">
          <p15:clr>
            <a:srgbClr val="FBAE40"/>
          </p15:clr>
        </p15:guide>
        <p15:guide id="3" pos="724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4676F03-CBB9-324C-ADB4-EF214BD1A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252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76F03-CBB9-324C-ADB4-EF214BD1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10DDBAD2-9F47-BFBB-8391-C5F7E23495DB}"/>
              </a:ext>
            </a:extLst>
          </p:cNvPr>
          <p:cNvSpPr txBox="1"/>
          <p:nvPr userDrawn="1"/>
        </p:nvSpPr>
        <p:spPr>
          <a:xfrm>
            <a:off x="695325" y="3295821"/>
            <a:ext cx="6643321" cy="19389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sz="1800" b="1" noProof="0" dirty="0">
                <a:solidFill>
                  <a:schemeClr val="bg1"/>
                </a:solidFill>
              </a:rPr>
              <a:t>Important Information!	</a:t>
            </a:r>
            <a:endParaRPr lang="en-GB" sz="1800" b="1" noProof="0" dirty="0">
              <a:solidFill>
                <a:schemeClr val="bg1"/>
              </a:solidFill>
              <a:ea typeface="+mn-ea"/>
              <a:cs typeface="+mn-cs"/>
            </a:endParaRPr>
          </a:p>
          <a:p>
            <a:pPr marL="0" indent="0" rtl="0"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  <a:t>© </a:t>
            </a:r>
            <a:r>
              <a:rPr lang="en-GB" sz="1400" b="0" noProof="0" dirty="0" err="1">
                <a:solidFill>
                  <a:schemeClr val="bg1"/>
                </a:solidFill>
                <a:ea typeface="+mn-ea"/>
                <a:cs typeface="+mn-cs"/>
              </a:rPr>
              <a:t>dSPACE</a:t>
            </a:r>
            <a: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  <a:t> GmbH</a:t>
            </a:r>
            <a:b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</a:br>
            <a: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  <a:t>All rights reserved. Written permission is required for reproduction of all or </a:t>
            </a:r>
            <a:b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</a:br>
            <a: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  <a:t>parts of this publication. The source must be stated in any such reproduction. </a:t>
            </a:r>
            <a:b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</a:br>
            <a: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  <a:t>This publication and the contents hereof are subject to change without notice.</a:t>
            </a:r>
            <a:b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</a:br>
            <a:r>
              <a:rPr lang="en-GB" sz="1400" b="0" noProof="0" dirty="0">
                <a:solidFill>
                  <a:schemeClr val="bg1"/>
                </a:solidFill>
                <a:ea typeface="+mn-ea"/>
                <a:cs typeface="+mn-cs"/>
              </a:rPr>
              <a:t>Benchmark results are based on a specific application. Results are generally not transferable to other applications. Brand names or product names are trademarks or registered trademarks of their respective companies or organizations.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3EADD6F-97DF-5475-E034-FCD035CC9616}"/>
              </a:ext>
            </a:extLst>
          </p:cNvPr>
          <p:cNvGrpSpPr>
            <a:grpSpLocks/>
          </p:cNvGrpSpPr>
          <p:nvPr userDrawn="1"/>
        </p:nvGrpSpPr>
        <p:grpSpPr>
          <a:xfrm>
            <a:off x="9349364" y="5720643"/>
            <a:ext cx="2149692" cy="450344"/>
            <a:chOff x="4476750" y="3090862"/>
            <a:chExt cx="3243166" cy="679418"/>
          </a:xfrm>
          <a:solidFill>
            <a:schemeClr val="bg1"/>
          </a:solidFill>
        </p:grpSpPr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A5C285C-DF60-DA20-2890-5119D9802FF5}"/>
                </a:ext>
              </a:extLst>
            </p:cNvPr>
            <p:cNvSpPr/>
            <p:nvPr/>
          </p:nvSpPr>
          <p:spPr>
            <a:xfrm>
              <a:off x="4476750" y="3112007"/>
              <a:ext cx="488061" cy="657320"/>
            </a:xfrm>
            <a:custGeom>
              <a:avLst/>
              <a:gdLst>
                <a:gd name="connsiteX0" fmla="*/ 488061 w 488061"/>
                <a:gd name="connsiteY0" fmla="*/ 0 h 657320"/>
                <a:gd name="connsiteX1" fmla="*/ 337375 w 488061"/>
                <a:gd name="connsiteY1" fmla="*/ 0 h 657320"/>
                <a:gd name="connsiteX2" fmla="*/ 337375 w 488061"/>
                <a:gd name="connsiteY2" fmla="*/ 255270 h 657320"/>
                <a:gd name="connsiteX3" fmla="*/ 335756 w 488061"/>
                <a:gd name="connsiteY3" fmla="*/ 255270 h 657320"/>
                <a:gd name="connsiteX4" fmla="*/ 269748 w 488061"/>
                <a:gd name="connsiteY4" fmla="*/ 201073 h 657320"/>
                <a:gd name="connsiteX5" fmla="*/ 186214 w 488061"/>
                <a:gd name="connsiteY5" fmla="*/ 187166 h 657320"/>
                <a:gd name="connsiteX6" fmla="*/ 48578 w 488061"/>
                <a:gd name="connsiteY6" fmla="*/ 258699 h 657320"/>
                <a:gd name="connsiteX7" fmla="*/ 0 w 488061"/>
                <a:gd name="connsiteY7" fmla="*/ 414052 h 657320"/>
                <a:gd name="connsiteX8" fmla="*/ 51721 w 488061"/>
                <a:gd name="connsiteY8" fmla="*/ 584930 h 657320"/>
                <a:gd name="connsiteX9" fmla="*/ 198787 w 488061"/>
                <a:gd name="connsiteY9" fmla="*/ 657320 h 657320"/>
                <a:gd name="connsiteX10" fmla="*/ 292894 w 488061"/>
                <a:gd name="connsiteY10" fmla="*/ 630555 h 657320"/>
                <a:gd name="connsiteX11" fmla="*/ 347853 w 488061"/>
                <a:gd name="connsiteY11" fmla="*/ 566928 h 657320"/>
                <a:gd name="connsiteX12" fmla="*/ 349853 w 488061"/>
                <a:gd name="connsiteY12" fmla="*/ 566928 h 657320"/>
                <a:gd name="connsiteX13" fmla="*/ 349853 w 488061"/>
                <a:gd name="connsiteY13" fmla="*/ 646938 h 657320"/>
                <a:gd name="connsiteX14" fmla="*/ 487966 w 488061"/>
                <a:gd name="connsiteY14" fmla="*/ 646938 h 657320"/>
                <a:gd name="connsiteX15" fmla="*/ 487966 w 488061"/>
                <a:gd name="connsiteY15" fmla="*/ 0 h 657320"/>
                <a:gd name="connsiteX16" fmla="*/ 155067 w 488061"/>
                <a:gd name="connsiteY16" fmla="*/ 417386 h 657320"/>
                <a:gd name="connsiteX17" fmla="*/ 179546 w 488061"/>
                <a:gd name="connsiteY17" fmla="*/ 338995 h 657320"/>
                <a:gd name="connsiteX18" fmla="*/ 246412 w 488061"/>
                <a:gd name="connsiteY18" fmla="*/ 306134 h 657320"/>
                <a:gd name="connsiteX19" fmla="*/ 312896 w 488061"/>
                <a:gd name="connsiteY19" fmla="*/ 338995 h 657320"/>
                <a:gd name="connsiteX20" fmla="*/ 338138 w 488061"/>
                <a:gd name="connsiteY20" fmla="*/ 423672 h 657320"/>
                <a:gd name="connsiteX21" fmla="*/ 311277 w 488061"/>
                <a:gd name="connsiteY21" fmla="*/ 504539 h 657320"/>
                <a:gd name="connsiteX22" fmla="*/ 246507 w 488061"/>
                <a:gd name="connsiteY22" fmla="*/ 538258 h 657320"/>
                <a:gd name="connsiteX23" fmla="*/ 180499 w 488061"/>
                <a:gd name="connsiteY23" fmla="*/ 503682 h 657320"/>
                <a:gd name="connsiteX24" fmla="*/ 155258 w 488061"/>
                <a:gd name="connsiteY24" fmla="*/ 417290 h 65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8061" h="657320">
                  <a:moveTo>
                    <a:pt x="488061" y="0"/>
                  </a:moveTo>
                  <a:lnTo>
                    <a:pt x="337375" y="0"/>
                  </a:lnTo>
                  <a:lnTo>
                    <a:pt x="337375" y="255270"/>
                  </a:lnTo>
                  <a:lnTo>
                    <a:pt x="335756" y="255270"/>
                  </a:lnTo>
                  <a:cubicBezTo>
                    <a:pt x="316706" y="230029"/>
                    <a:pt x="294799" y="212027"/>
                    <a:pt x="269748" y="201073"/>
                  </a:cubicBezTo>
                  <a:cubicBezTo>
                    <a:pt x="244793" y="191834"/>
                    <a:pt x="216884" y="187166"/>
                    <a:pt x="186214" y="187166"/>
                  </a:cubicBezTo>
                  <a:cubicBezTo>
                    <a:pt x="126206" y="188595"/>
                    <a:pt x="80296" y="212408"/>
                    <a:pt x="48578" y="258699"/>
                  </a:cubicBezTo>
                  <a:cubicBezTo>
                    <a:pt x="16193" y="304133"/>
                    <a:pt x="0" y="355949"/>
                    <a:pt x="0" y="414052"/>
                  </a:cubicBezTo>
                  <a:cubicBezTo>
                    <a:pt x="0" y="481965"/>
                    <a:pt x="17240" y="538925"/>
                    <a:pt x="51721" y="584930"/>
                  </a:cubicBezTo>
                  <a:cubicBezTo>
                    <a:pt x="85153" y="631793"/>
                    <a:pt x="134112" y="655892"/>
                    <a:pt x="198787" y="657320"/>
                  </a:cubicBezTo>
                  <a:cubicBezTo>
                    <a:pt x="234315" y="656749"/>
                    <a:pt x="265748" y="647795"/>
                    <a:pt x="292894" y="630555"/>
                  </a:cubicBezTo>
                  <a:cubicBezTo>
                    <a:pt x="319754" y="613410"/>
                    <a:pt x="338138" y="592265"/>
                    <a:pt x="347853" y="566928"/>
                  </a:cubicBezTo>
                  <a:lnTo>
                    <a:pt x="349853" y="566928"/>
                  </a:lnTo>
                  <a:lnTo>
                    <a:pt x="349853" y="646938"/>
                  </a:lnTo>
                  <a:lnTo>
                    <a:pt x="487966" y="646938"/>
                  </a:lnTo>
                  <a:lnTo>
                    <a:pt x="487966" y="0"/>
                  </a:lnTo>
                  <a:close/>
                  <a:moveTo>
                    <a:pt x="155067" y="417386"/>
                  </a:moveTo>
                  <a:cubicBezTo>
                    <a:pt x="155067" y="386525"/>
                    <a:pt x="163163" y="360331"/>
                    <a:pt x="179546" y="338995"/>
                  </a:cubicBezTo>
                  <a:cubicBezTo>
                    <a:pt x="194501" y="317659"/>
                    <a:pt x="216789" y="306705"/>
                    <a:pt x="246412" y="306134"/>
                  </a:cubicBezTo>
                  <a:cubicBezTo>
                    <a:pt x="274701" y="306705"/>
                    <a:pt x="296799" y="317659"/>
                    <a:pt x="312896" y="338995"/>
                  </a:cubicBezTo>
                  <a:cubicBezTo>
                    <a:pt x="329184" y="360331"/>
                    <a:pt x="337566" y="388525"/>
                    <a:pt x="338138" y="423672"/>
                  </a:cubicBezTo>
                  <a:cubicBezTo>
                    <a:pt x="337566" y="456819"/>
                    <a:pt x="328613" y="483775"/>
                    <a:pt x="311277" y="504539"/>
                  </a:cubicBezTo>
                  <a:cubicBezTo>
                    <a:pt x="294132" y="526447"/>
                    <a:pt x="272510" y="537686"/>
                    <a:pt x="246507" y="538258"/>
                  </a:cubicBezTo>
                  <a:cubicBezTo>
                    <a:pt x="217932" y="538258"/>
                    <a:pt x="195929" y="526733"/>
                    <a:pt x="180499" y="503682"/>
                  </a:cubicBezTo>
                  <a:cubicBezTo>
                    <a:pt x="163640" y="482346"/>
                    <a:pt x="155258" y="453581"/>
                    <a:pt x="155258" y="4172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8A12262D-E8FC-7FD5-8212-516393D0563C}"/>
                </a:ext>
              </a:extLst>
            </p:cNvPr>
            <p:cNvSpPr/>
            <p:nvPr/>
          </p:nvSpPr>
          <p:spPr>
            <a:xfrm>
              <a:off x="5019008" y="3090862"/>
              <a:ext cx="485298" cy="679344"/>
            </a:xfrm>
            <a:custGeom>
              <a:avLst/>
              <a:gdLst>
                <a:gd name="connsiteX0" fmla="*/ 6001 w 485298"/>
                <a:gd name="connsiteY0" fmla="*/ 650938 h 679344"/>
                <a:gd name="connsiteX1" fmla="*/ 199549 w 485298"/>
                <a:gd name="connsiteY1" fmla="*/ 679323 h 679344"/>
                <a:gd name="connsiteX2" fmla="*/ 397192 w 485298"/>
                <a:gd name="connsiteY2" fmla="*/ 633889 h 679344"/>
                <a:gd name="connsiteX3" fmla="*/ 485299 w 485298"/>
                <a:gd name="connsiteY3" fmla="*/ 462915 h 679344"/>
                <a:gd name="connsiteX4" fmla="*/ 472916 w 485298"/>
                <a:gd name="connsiteY4" fmla="*/ 386620 h 679344"/>
                <a:gd name="connsiteX5" fmla="*/ 437579 w 485298"/>
                <a:gd name="connsiteY5" fmla="*/ 334709 h 679344"/>
                <a:gd name="connsiteX6" fmla="*/ 388430 w 485298"/>
                <a:gd name="connsiteY6" fmla="*/ 299752 h 679344"/>
                <a:gd name="connsiteX7" fmla="*/ 330994 w 485298"/>
                <a:gd name="connsiteY7" fmla="*/ 277273 h 679344"/>
                <a:gd name="connsiteX8" fmla="*/ 275368 w 485298"/>
                <a:gd name="connsiteY8" fmla="*/ 259366 h 679344"/>
                <a:gd name="connsiteX9" fmla="*/ 224790 w 485298"/>
                <a:gd name="connsiteY9" fmla="*/ 243269 h 679344"/>
                <a:gd name="connsiteX10" fmla="*/ 188976 w 485298"/>
                <a:gd name="connsiteY10" fmla="*/ 222599 h 679344"/>
                <a:gd name="connsiteX11" fmla="*/ 174784 w 485298"/>
                <a:gd name="connsiteY11" fmla="*/ 190881 h 679344"/>
                <a:gd name="connsiteX12" fmla="*/ 218123 w 485298"/>
                <a:gd name="connsiteY12" fmla="*/ 138017 h 679344"/>
                <a:gd name="connsiteX13" fmla="*/ 256889 w 485298"/>
                <a:gd name="connsiteY13" fmla="*/ 130683 h 679344"/>
                <a:gd name="connsiteX14" fmla="*/ 292894 w 485298"/>
                <a:gd name="connsiteY14" fmla="*/ 129731 h 679344"/>
                <a:gd name="connsiteX15" fmla="*/ 439674 w 485298"/>
                <a:gd name="connsiteY15" fmla="*/ 159639 h 679344"/>
                <a:gd name="connsiteX16" fmla="*/ 450723 w 485298"/>
                <a:gd name="connsiteY16" fmla="*/ 24289 h 679344"/>
                <a:gd name="connsiteX17" fmla="*/ 283369 w 485298"/>
                <a:gd name="connsiteY17" fmla="*/ 0 h 679344"/>
                <a:gd name="connsiteX18" fmla="*/ 184690 w 485298"/>
                <a:gd name="connsiteY18" fmla="*/ 8287 h 679344"/>
                <a:gd name="connsiteX19" fmla="*/ 93250 w 485298"/>
                <a:gd name="connsiteY19" fmla="*/ 40481 h 679344"/>
                <a:gd name="connsiteX20" fmla="*/ 26860 w 485298"/>
                <a:gd name="connsiteY20" fmla="*/ 102489 h 679344"/>
                <a:gd name="connsiteX21" fmla="*/ 0 w 485298"/>
                <a:gd name="connsiteY21" fmla="*/ 201263 h 679344"/>
                <a:gd name="connsiteX22" fmla="*/ 50101 w 485298"/>
                <a:gd name="connsiteY22" fmla="*/ 328517 h 679344"/>
                <a:gd name="connsiteX23" fmla="*/ 100584 w 485298"/>
                <a:gd name="connsiteY23" fmla="*/ 362998 h 679344"/>
                <a:gd name="connsiteX24" fmla="*/ 156210 w 485298"/>
                <a:gd name="connsiteY24" fmla="*/ 386906 h 679344"/>
                <a:gd name="connsiteX25" fmla="*/ 213646 w 485298"/>
                <a:gd name="connsiteY25" fmla="*/ 404813 h 679344"/>
                <a:gd name="connsiteX26" fmla="*/ 262319 w 485298"/>
                <a:gd name="connsiteY26" fmla="*/ 422720 h 679344"/>
                <a:gd name="connsiteX27" fmla="*/ 298133 w 485298"/>
                <a:gd name="connsiteY27" fmla="*/ 447104 h 679344"/>
                <a:gd name="connsiteX28" fmla="*/ 310515 w 485298"/>
                <a:gd name="connsiteY28" fmla="*/ 485680 h 679344"/>
                <a:gd name="connsiteX29" fmla="*/ 277368 w 485298"/>
                <a:gd name="connsiteY29" fmla="*/ 537115 h 679344"/>
                <a:gd name="connsiteX30" fmla="*/ 201835 w 485298"/>
                <a:gd name="connsiteY30" fmla="*/ 549497 h 679344"/>
                <a:gd name="connsiteX31" fmla="*/ 20860 w 485298"/>
                <a:gd name="connsiteY31" fmla="*/ 506254 h 679344"/>
                <a:gd name="connsiteX32" fmla="*/ 6191 w 485298"/>
                <a:gd name="connsiteY32" fmla="*/ 650843 h 67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85298" h="679344">
                  <a:moveTo>
                    <a:pt x="6001" y="650938"/>
                  </a:moveTo>
                  <a:cubicBezTo>
                    <a:pt x="69342" y="669893"/>
                    <a:pt x="133826" y="679323"/>
                    <a:pt x="199549" y="679323"/>
                  </a:cubicBezTo>
                  <a:cubicBezTo>
                    <a:pt x="275273" y="679990"/>
                    <a:pt x="341090" y="664845"/>
                    <a:pt x="397192" y="633889"/>
                  </a:cubicBezTo>
                  <a:cubicBezTo>
                    <a:pt x="454152" y="602647"/>
                    <a:pt x="483489" y="545687"/>
                    <a:pt x="485299" y="462915"/>
                  </a:cubicBezTo>
                  <a:cubicBezTo>
                    <a:pt x="485299" y="432530"/>
                    <a:pt x="481203" y="407194"/>
                    <a:pt x="472916" y="386620"/>
                  </a:cubicBezTo>
                  <a:cubicBezTo>
                    <a:pt x="464344" y="365760"/>
                    <a:pt x="452533" y="348520"/>
                    <a:pt x="437579" y="334709"/>
                  </a:cubicBezTo>
                  <a:cubicBezTo>
                    <a:pt x="423196" y="320897"/>
                    <a:pt x="406813" y="309277"/>
                    <a:pt x="388430" y="299752"/>
                  </a:cubicBezTo>
                  <a:cubicBezTo>
                    <a:pt x="370427" y="290513"/>
                    <a:pt x="351187" y="283083"/>
                    <a:pt x="330994" y="277273"/>
                  </a:cubicBezTo>
                  <a:cubicBezTo>
                    <a:pt x="312325" y="271177"/>
                    <a:pt x="293751" y="265176"/>
                    <a:pt x="275368" y="259366"/>
                  </a:cubicBezTo>
                  <a:cubicBezTo>
                    <a:pt x="256699" y="253841"/>
                    <a:pt x="239840" y="248507"/>
                    <a:pt x="224790" y="243269"/>
                  </a:cubicBezTo>
                  <a:cubicBezTo>
                    <a:pt x="209740" y="237744"/>
                    <a:pt x="197834" y="230886"/>
                    <a:pt x="188976" y="222599"/>
                  </a:cubicBezTo>
                  <a:cubicBezTo>
                    <a:pt x="179451" y="214598"/>
                    <a:pt x="174784" y="204026"/>
                    <a:pt x="174784" y="190881"/>
                  </a:cubicBezTo>
                  <a:cubicBezTo>
                    <a:pt x="176022" y="162687"/>
                    <a:pt x="190500" y="145066"/>
                    <a:pt x="218123" y="138017"/>
                  </a:cubicBezTo>
                  <a:cubicBezTo>
                    <a:pt x="230696" y="134303"/>
                    <a:pt x="243650" y="131921"/>
                    <a:pt x="256889" y="130683"/>
                  </a:cubicBezTo>
                  <a:cubicBezTo>
                    <a:pt x="270129" y="130112"/>
                    <a:pt x="282131" y="129731"/>
                    <a:pt x="292894" y="129731"/>
                  </a:cubicBezTo>
                  <a:cubicBezTo>
                    <a:pt x="343948" y="129731"/>
                    <a:pt x="392906" y="139732"/>
                    <a:pt x="439674" y="159639"/>
                  </a:cubicBezTo>
                  <a:lnTo>
                    <a:pt x="450723" y="24289"/>
                  </a:lnTo>
                  <a:cubicBezTo>
                    <a:pt x="404336" y="8668"/>
                    <a:pt x="348520" y="572"/>
                    <a:pt x="283369" y="0"/>
                  </a:cubicBezTo>
                  <a:cubicBezTo>
                    <a:pt x="250317" y="0"/>
                    <a:pt x="217456" y="2762"/>
                    <a:pt x="184690" y="8287"/>
                  </a:cubicBezTo>
                  <a:cubicBezTo>
                    <a:pt x="151638" y="14764"/>
                    <a:pt x="121158" y="25432"/>
                    <a:pt x="93250" y="40481"/>
                  </a:cubicBezTo>
                  <a:cubicBezTo>
                    <a:pt x="66008" y="55531"/>
                    <a:pt x="43815" y="76200"/>
                    <a:pt x="26860" y="102489"/>
                  </a:cubicBezTo>
                  <a:cubicBezTo>
                    <a:pt x="8953" y="128873"/>
                    <a:pt x="0" y="161735"/>
                    <a:pt x="0" y="201263"/>
                  </a:cubicBezTo>
                  <a:cubicBezTo>
                    <a:pt x="572" y="259175"/>
                    <a:pt x="17240" y="301562"/>
                    <a:pt x="50101" y="328517"/>
                  </a:cubicBezTo>
                  <a:cubicBezTo>
                    <a:pt x="65151" y="342329"/>
                    <a:pt x="81915" y="353759"/>
                    <a:pt x="100584" y="362998"/>
                  </a:cubicBezTo>
                  <a:cubicBezTo>
                    <a:pt x="118967" y="372523"/>
                    <a:pt x="137446" y="380429"/>
                    <a:pt x="156210" y="386906"/>
                  </a:cubicBezTo>
                  <a:cubicBezTo>
                    <a:pt x="176403" y="393001"/>
                    <a:pt x="195548" y="399002"/>
                    <a:pt x="213646" y="404813"/>
                  </a:cubicBezTo>
                  <a:cubicBezTo>
                    <a:pt x="231648" y="410337"/>
                    <a:pt x="247936" y="416243"/>
                    <a:pt x="262319" y="422720"/>
                  </a:cubicBezTo>
                  <a:cubicBezTo>
                    <a:pt x="277654" y="428816"/>
                    <a:pt x="289560" y="436912"/>
                    <a:pt x="298133" y="447104"/>
                  </a:cubicBezTo>
                  <a:cubicBezTo>
                    <a:pt x="306419" y="457200"/>
                    <a:pt x="310515" y="470059"/>
                    <a:pt x="310515" y="485680"/>
                  </a:cubicBezTo>
                  <a:cubicBezTo>
                    <a:pt x="309944" y="511397"/>
                    <a:pt x="298894" y="528542"/>
                    <a:pt x="277368" y="537115"/>
                  </a:cubicBezTo>
                  <a:cubicBezTo>
                    <a:pt x="256794" y="545973"/>
                    <a:pt x="231648" y="550164"/>
                    <a:pt x="201835" y="549497"/>
                  </a:cubicBezTo>
                  <a:cubicBezTo>
                    <a:pt x="127825" y="548259"/>
                    <a:pt x="67532" y="533876"/>
                    <a:pt x="20860" y="506254"/>
                  </a:cubicBezTo>
                  <a:lnTo>
                    <a:pt x="6191" y="65084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3DE4410-7922-CD84-5827-F50A68F72582}"/>
                </a:ext>
              </a:extLst>
            </p:cNvPr>
            <p:cNvSpPr/>
            <p:nvPr/>
          </p:nvSpPr>
          <p:spPr>
            <a:xfrm>
              <a:off x="5557932" y="3102193"/>
              <a:ext cx="497779" cy="656752"/>
            </a:xfrm>
            <a:custGeom>
              <a:avLst/>
              <a:gdLst>
                <a:gd name="connsiteX0" fmla="*/ 0 w 497779"/>
                <a:gd name="connsiteY0" fmla="*/ 656752 h 656752"/>
                <a:gd name="connsiteX1" fmla="*/ 169354 w 497779"/>
                <a:gd name="connsiteY1" fmla="*/ 656752 h 656752"/>
                <a:gd name="connsiteX2" fmla="*/ 169354 w 497779"/>
                <a:gd name="connsiteY2" fmla="*/ 427104 h 656752"/>
                <a:gd name="connsiteX3" fmla="*/ 236982 w 497779"/>
                <a:gd name="connsiteY3" fmla="*/ 427104 h 656752"/>
                <a:gd name="connsiteX4" fmla="*/ 497777 w 497779"/>
                <a:gd name="connsiteY4" fmla="*/ 215649 h 656752"/>
                <a:gd name="connsiteX5" fmla="*/ 206407 w 497779"/>
                <a:gd name="connsiteY5" fmla="*/ 3 h 656752"/>
                <a:gd name="connsiteX6" fmla="*/ 0 w 497779"/>
                <a:gd name="connsiteY6" fmla="*/ 3 h 656752"/>
                <a:gd name="connsiteX7" fmla="*/ 0 w 497779"/>
                <a:gd name="connsiteY7" fmla="*/ 656752 h 656752"/>
                <a:gd name="connsiteX8" fmla="*/ 169354 w 497779"/>
                <a:gd name="connsiteY8" fmla="*/ 124114 h 656752"/>
                <a:gd name="connsiteX9" fmla="*/ 216218 w 497779"/>
                <a:gd name="connsiteY9" fmla="*/ 124114 h 656752"/>
                <a:gd name="connsiteX10" fmla="*/ 296513 w 497779"/>
                <a:gd name="connsiteY10" fmla="*/ 142021 h 656752"/>
                <a:gd name="connsiteX11" fmla="*/ 328517 w 497779"/>
                <a:gd name="connsiteY11" fmla="*/ 212411 h 656752"/>
                <a:gd name="connsiteX12" fmla="*/ 296513 w 497779"/>
                <a:gd name="connsiteY12" fmla="*/ 283277 h 656752"/>
                <a:gd name="connsiteX13" fmla="*/ 216218 w 497779"/>
                <a:gd name="connsiteY13" fmla="*/ 302994 h 656752"/>
                <a:gd name="connsiteX14" fmla="*/ 169354 w 497779"/>
                <a:gd name="connsiteY14" fmla="*/ 302994 h 656752"/>
                <a:gd name="connsiteX15" fmla="*/ 169354 w 497779"/>
                <a:gd name="connsiteY15" fmla="*/ 124114 h 6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7779" h="656752">
                  <a:moveTo>
                    <a:pt x="0" y="656752"/>
                  </a:moveTo>
                  <a:lnTo>
                    <a:pt x="169354" y="656752"/>
                  </a:lnTo>
                  <a:lnTo>
                    <a:pt x="169354" y="427104"/>
                  </a:lnTo>
                  <a:lnTo>
                    <a:pt x="236982" y="427104"/>
                  </a:lnTo>
                  <a:cubicBezTo>
                    <a:pt x="408432" y="425295"/>
                    <a:pt x="495300" y="354810"/>
                    <a:pt x="497777" y="215649"/>
                  </a:cubicBezTo>
                  <a:cubicBezTo>
                    <a:pt x="498443" y="71346"/>
                    <a:pt x="401288" y="-568"/>
                    <a:pt x="206407" y="3"/>
                  </a:cubicBezTo>
                  <a:lnTo>
                    <a:pt x="0" y="3"/>
                  </a:lnTo>
                  <a:lnTo>
                    <a:pt x="0" y="656752"/>
                  </a:lnTo>
                  <a:close/>
                  <a:moveTo>
                    <a:pt x="169354" y="124114"/>
                  </a:moveTo>
                  <a:lnTo>
                    <a:pt x="216218" y="124114"/>
                  </a:lnTo>
                  <a:cubicBezTo>
                    <a:pt x="248126" y="124114"/>
                    <a:pt x="274891" y="130115"/>
                    <a:pt x="296513" y="142021"/>
                  </a:cubicBezTo>
                  <a:cubicBezTo>
                    <a:pt x="317182" y="155832"/>
                    <a:pt x="327946" y="179264"/>
                    <a:pt x="328517" y="212411"/>
                  </a:cubicBezTo>
                  <a:cubicBezTo>
                    <a:pt x="327946" y="245844"/>
                    <a:pt x="317182" y="269466"/>
                    <a:pt x="296513" y="283277"/>
                  </a:cubicBezTo>
                  <a:cubicBezTo>
                    <a:pt x="274891" y="297088"/>
                    <a:pt x="248126" y="303660"/>
                    <a:pt x="216218" y="302994"/>
                  </a:cubicBezTo>
                  <a:lnTo>
                    <a:pt x="169354" y="302994"/>
                  </a:lnTo>
                  <a:lnTo>
                    <a:pt x="169354" y="12411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1F08FCB2-4702-6E48-219F-6161D6837535}"/>
                </a:ext>
              </a:extLst>
            </p:cNvPr>
            <p:cNvSpPr/>
            <p:nvPr/>
          </p:nvSpPr>
          <p:spPr>
            <a:xfrm>
              <a:off x="5982652" y="3102196"/>
              <a:ext cx="694086" cy="656748"/>
            </a:xfrm>
            <a:custGeom>
              <a:avLst/>
              <a:gdLst>
                <a:gd name="connsiteX0" fmla="*/ 0 w 694086"/>
                <a:gd name="connsiteY0" fmla="*/ 656749 h 656748"/>
                <a:gd name="connsiteX1" fmla="*/ 172117 w 694086"/>
                <a:gd name="connsiteY1" fmla="*/ 656749 h 656748"/>
                <a:gd name="connsiteX2" fmla="*/ 222313 w 694086"/>
                <a:gd name="connsiteY2" fmla="*/ 516636 h 656748"/>
                <a:gd name="connsiteX3" fmla="*/ 461105 w 694086"/>
                <a:gd name="connsiteY3" fmla="*/ 516636 h 656748"/>
                <a:gd name="connsiteX4" fmla="*/ 508254 w 694086"/>
                <a:gd name="connsiteY4" fmla="*/ 656749 h 656748"/>
                <a:gd name="connsiteX5" fmla="*/ 694087 w 694086"/>
                <a:gd name="connsiteY5" fmla="*/ 656749 h 656748"/>
                <a:gd name="connsiteX6" fmla="*/ 449199 w 694086"/>
                <a:gd name="connsiteY6" fmla="*/ 0 h 656748"/>
                <a:gd name="connsiteX7" fmla="*/ 241459 w 694086"/>
                <a:gd name="connsiteY7" fmla="*/ 0 h 656748"/>
                <a:gd name="connsiteX8" fmla="*/ 0 w 694086"/>
                <a:gd name="connsiteY8" fmla="*/ 656749 h 656748"/>
                <a:gd name="connsiteX9" fmla="*/ 434340 w 694086"/>
                <a:gd name="connsiteY9" fmla="*/ 392430 h 656748"/>
                <a:gd name="connsiteX10" fmla="*/ 269843 w 694086"/>
                <a:gd name="connsiteY10" fmla="*/ 392430 h 656748"/>
                <a:gd name="connsiteX11" fmla="*/ 354330 w 694086"/>
                <a:gd name="connsiteY11" fmla="*/ 135350 h 656748"/>
                <a:gd name="connsiteX12" fmla="*/ 356616 w 694086"/>
                <a:gd name="connsiteY12" fmla="*/ 135350 h 656748"/>
                <a:gd name="connsiteX13" fmla="*/ 434245 w 694086"/>
                <a:gd name="connsiteY13" fmla="*/ 392430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4086" h="656748">
                  <a:moveTo>
                    <a:pt x="0" y="656749"/>
                  </a:moveTo>
                  <a:lnTo>
                    <a:pt x="172117" y="656749"/>
                  </a:lnTo>
                  <a:lnTo>
                    <a:pt x="222313" y="516636"/>
                  </a:lnTo>
                  <a:lnTo>
                    <a:pt x="461105" y="516636"/>
                  </a:lnTo>
                  <a:lnTo>
                    <a:pt x="508254" y="656749"/>
                  </a:lnTo>
                  <a:lnTo>
                    <a:pt x="694087" y="656749"/>
                  </a:lnTo>
                  <a:lnTo>
                    <a:pt x="449199" y="0"/>
                  </a:lnTo>
                  <a:lnTo>
                    <a:pt x="241459" y="0"/>
                  </a:lnTo>
                  <a:lnTo>
                    <a:pt x="0" y="656749"/>
                  </a:lnTo>
                  <a:close/>
                  <a:moveTo>
                    <a:pt x="434340" y="392430"/>
                  </a:moveTo>
                  <a:lnTo>
                    <a:pt x="269843" y="392430"/>
                  </a:lnTo>
                  <a:lnTo>
                    <a:pt x="354330" y="135350"/>
                  </a:lnTo>
                  <a:lnTo>
                    <a:pt x="356616" y="135350"/>
                  </a:lnTo>
                  <a:lnTo>
                    <a:pt x="434245" y="39243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EE5B98B-E796-E636-D282-1BD19E583A49}"/>
                </a:ext>
              </a:extLst>
            </p:cNvPr>
            <p:cNvSpPr/>
            <p:nvPr/>
          </p:nvSpPr>
          <p:spPr>
            <a:xfrm>
              <a:off x="6645973" y="3090957"/>
              <a:ext cx="554164" cy="679323"/>
            </a:xfrm>
            <a:custGeom>
              <a:avLst/>
              <a:gdLst>
                <a:gd name="connsiteX0" fmla="*/ 546259 w 554164"/>
                <a:gd name="connsiteY0" fmla="*/ 515493 h 679323"/>
                <a:gd name="connsiteX1" fmla="*/ 387286 w 554164"/>
                <a:gd name="connsiteY1" fmla="*/ 549497 h 679323"/>
                <a:gd name="connsiteX2" fmla="*/ 234982 w 554164"/>
                <a:gd name="connsiteY2" fmla="*/ 493871 h 679323"/>
                <a:gd name="connsiteX3" fmla="*/ 174879 w 554164"/>
                <a:gd name="connsiteY3" fmla="*/ 342138 h 679323"/>
                <a:gd name="connsiteX4" fmla="*/ 229648 w 554164"/>
                <a:gd name="connsiteY4" fmla="*/ 189929 h 679323"/>
                <a:gd name="connsiteX5" fmla="*/ 373475 w 554164"/>
                <a:gd name="connsiteY5" fmla="*/ 129731 h 679323"/>
                <a:gd name="connsiteX6" fmla="*/ 539591 w 554164"/>
                <a:gd name="connsiteY6" fmla="*/ 175927 h 679323"/>
                <a:gd name="connsiteX7" fmla="*/ 553402 w 554164"/>
                <a:gd name="connsiteY7" fmla="*/ 34004 h 679323"/>
                <a:gd name="connsiteX8" fmla="*/ 364617 w 554164"/>
                <a:gd name="connsiteY8" fmla="*/ 0 h 679323"/>
                <a:gd name="connsiteX9" fmla="*/ 103727 w 554164"/>
                <a:gd name="connsiteY9" fmla="*/ 84487 h 679323"/>
                <a:gd name="connsiteX10" fmla="*/ 0 w 554164"/>
                <a:gd name="connsiteY10" fmla="*/ 342138 h 679323"/>
                <a:gd name="connsiteX11" fmla="*/ 119348 w 554164"/>
                <a:gd name="connsiteY11" fmla="*/ 603028 h 679323"/>
                <a:gd name="connsiteX12" fmla="*/ 237744 w 554164"/>
                <a:gd name="connsiteY12" fmla="*/ 660464 h 679323"/>
                <a:gd name="connsiteX13" fmla="*/ 365474 w 554164"/>
                <a:gd name="connsiteY13" fmla="*/ 679323 h 679323"/>
                <a:gd name="connsiteX14" fmla="*/ 475012 w 554164"/>
                <a:gd name="connsiteY14" fmla="*/ 669703 h 679323"/>
                <a:gd name="connsiteX15" fmla="*/ 554165 w 554164"/>
                <a:gd name="connsiteY15" fmla="*/ 652748 h 679323"/>
                <a:gd name="connsiteX16" fmla="*/ 546163 w 554164"/>
                <a:gd name="connsiteY16" fmla="*/ 515588 h 67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4164" h="679323">
                  <a:moveTo>
                    <a:pt x="546259" y="515493"/>
                  </a:moveTo>
                  <a:cubicBezTo>
                    <a:pt x="498158" y="537591"/>
                    <a:pt x="445199" y="548926"/>
                    <a:pt x="387286" y="549497"/>
                  </a:cubicBezTo>
                  <a:cubicBezTo>
                    <a:pt x="324041" y="549497"/>
                    <a:pt x="273272" y="530924"/>
                    <a:pt x="234982" y="493871"/>
                  </a:cubicBezTo>
                  <a:cubicBezTo>
                    <a:pt x="195548" y="457391"/>
                    <a:pt x="175450" y="406813"/>
                    <a:pt x="174879" y="342138"/>
                  </a:cubicBezTo>
                  <a:cubicBezTo>
                    <a:pt x="175450" y="279559"/>
                    <a:pt x="193738" y="228886"/>
                    <a:pt x="229648" y="189929"/>
                  </a:cubicBezTo>
                  <a:cubicBezTo>
                    <a:pt x="264985" y="150400"/>
                    <a:pt x="312896" y="130302"/>
                    <a:pt x="373475" y="129731"/>
                  </a:cubicBezTo>
                  <a:cubicBezTo>
                    <a:pt x="430720" y="129731"/>
                    <a:pt x="486156" y="145161"/>
                    <a:pt x="539591" y="175927"/>
                  </a:cubicBezTo>
                  <a:lnTo>
                    <a:pt x="553402" y="34004"/>
                  </a:lnTo>
                  <a:cubicBezTo>
                    <a:pt x="492538" y="12573"/>
                    <a:pt x="429577" y="1238"/>
                    <a:pt x="364617" y="0"/>
                  </a:cubicBezTo>
                  <a:cubicBezTo>
                    <a:pt x="257746" y="0"/>
                    <a:pt x="170878" y="28194"/>
                    <a:pt x="103727" y="84487"/>
                  </a:cubicBezTo>
                  <a:cubicBezTo>
                    <a:pt x="35719" y="141732"/>
                    <a:pt x="1143" y="227648"/>
                    <a:pt x="0" y="342138"/>
                  </a:cubicBezTo>
                  <a:cubicBezTo>
                    <a:pt x="2381" y="464630"/>
                    <a:pt x="42196" y="551593"/>
                    <a:pt x="119348" y="603028"/>
                  </a:cubicBezTo>
                  <a:cubicBezTo>
                    <a:pt x="155257" y="629317"/>
                    <a:pt x="194786" y="648462"/>
                    <a:pt x="237744" y="660464"/>
                  </a:cubicBezTo>
                  <a:cubicBezTo>
                    <a:pt x="280511" y="673037"/>
                    <a:pt x="323088" y="679323"/>
                    <a:pt x="365474" y="679323"/>
                  </a:cubicBezTo>
                  <a:cubicBezTo>
                    <a:pt x="408527" y="678751"/>
                    <a:pt x="445008" y="675513"/>
                    <a:pt x="475012" y="669703"/>
                  </a:cubicBezTo>
                  <a:cubicBezTo>
                    <a:pt x="504634" y="664845"/>
                    <a:pt x="531114" y="659225"/>
                    <a:pt x="554165" y="652748"/>
                  </a:cubicBezTo>
                  <a:lnTo>
                    <a:pt x="546163" y="5155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52513E5-78D1-D2AF-D792-B80CD71C5466}"/>
                </a:ext>
              </a:extLst>
            </p:cNvPr>
            <p:cNvSpPr/>
            <p:nvPr/>
          </p:nvSpPr>
          <p:spPr>
            <a:xfrm>
              <a:off x="7261669" y="3102196"/>
              <a:ext cx="458247" cy="656748"/>
            </a:xfrm>
            <a:custGeom>
              <a:avLst/>
              <a:gdLst>
                <a:gd name="connsiteX0" fmla="*/ 0 w 458247"/>
                <a:gd name="connsiteY0" fmla="*/ 656749 h 656748"/>
                <a:gd name="connsiteX1" fmla="*/ 458248 w 458247"/>
                <a:gd name="connsiteY1" fmla="*/ 656749 h 656748"/>
                <a:gd name="connsiteX2" fmla="*/ 458248 w 458247"/>
                <a:gd name="connsiteY2" fmla="*/ 532638 h 656748"/>
                <a:gd name="connsiteX3" fmla="*/ 169164 w 458247"/>
                <a:gd name="connsiteY3" fmla="*/ 532638 h 656748"/>
                <a:gd name="connsiteX4" fmla="*/ 169164 w 458247"/>
                <a:gd name="connsiteY4" fmla="*/ 383762 h 656748"/>
                <a:gd name="connsiteX5" fmla="*/ 432911 w 458247"/>
                <a:gd name="connsiteY5" fmla="*/ 383762 h 656748"/>
                <a:gd name="connsiteX6" fmla="*/ 432911 w 458247"/>
                <a:gd name="connsiteY6" fmla="*/ 259747 h 656748"/>
                <a:gd name="connsiteX7" fmla="*/ 169164 w 458247"/>
                <a:gd name="connsiteY7" fmla="*/ 259747 h 656748"/>
                <a:gd name="connsiteX8" fmla="*/ 169164 w 458247"/>
                <a:gd name="connsiteY8" fmla="*/ 124111 h 656748"/>
                <a:gd name="connsiteX9" fmla="*/ 448056 w 458247"/>
                <a:gd name="connsiteY9" fmla="*/ 124111 h 656748"/>
                <a:gd name="connsiteX10" fmla="*/ 448056 w 458247"/>
                <a:gd name="connsiteY10" fmla="*/ 0 h 656748"/>
                <a:gd name="connsiteX11" fmla="*/ 0 w 458247"/>
                <a:gd name="connsiteY11" fmla="*/ 0 h 656748"/>
                <a:gd name="connsiteX12" fmla="*/ 0 w 458247"/>
                <a:gd name="connsiteY12" fmla="*/ 656749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8247" h="656748">
                  <a:moveTo>
                    <a:pt x="0" y="656749"/>
                  </a:moveTo>
                  <a:lnTo>
                    <a:pt x="458248" y="656749"/>
                  </a:lnTo>
                  <a:lnTo>
                    <a:pt x="458248" y="532638"/>
                  </a:lnTo>
                  <a:lnTo>
                    <a:pt x="169164" y="532638"/>
                  </a:lnTo>
                  <a:lnTo>
                    <a:pt x="169164" y="383762"/>
                  </a:lnTo>
                  <a:lnTo>
                    <a:pt x="432911" y="383762"/>
                  </a:lnTo>
                  <a:lnTo>
                    <a:pt x="432911" y="259747"/>
                  </a:lnTo>
                  <a:lnTo>
                    <a:pt x="169164" y="259747"/>
                  </a:lnTo>
                  <a:lnTo>
                    <a:pt x="169164" y="124111"/>
                  </a:lnTo>
                  <a:lnTo>
                    <a:pt x="448056" y="124111"/>
                  </a:lnTo>
                  <a:lnTo>
                    <a:pt x="448056" y="0"/>
                  </a:lnTo>
                  <a:lnTo>
                    <a:pt x="0" y="0"/>
                  </a:lnTo>
                  <a:lnTo>
                    <a:pt x="0" y="65674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240774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38" userDrawn="1">
          <p15:clr>
            <a:srgbClr val="FBAE40"/>
          </p15:clr>
        </p15:guide>
        <p15:guide id="3" pos="72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2F2093F-4EF9-DDB7-75C6-55D6512E0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218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F2093F-4EF9-DDB7-75C6-55D6512E0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51413EB-7AEC-A66F-9E70-47EA40AE31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9512694 w 12191999"/>
              <a:gd name="connsiteY0" fmla="*/ 5937576 h 6857999"/>
              <a:gd name="connsiteX1" fmla="*/ 9556762 w 12191999"/>
              <a:gd name="connsiteY1" fmla="*/ 5959357 h 6857999"/>
              <a:gd name="connsiteX2" fmla="*/ 9573493 w 12191999"/>
              <a:gd name="connsiteY2" fmla="*/ 6015484 h 6857999"/>
              <a:gd name="connsiteX3" fmla="*/ 9555689 w 12191999"/>
              <a:gd name="connsiteY3" fmla="*/ 6069086 h 6857999"/>
              <a:gd name="connsiteX4" fmla="*/ 9512757 w 12191999"/>
              <a:gd name="connsiteY4" fmla="*/ 6091436 h 6857999"/>
              <a:gd name="connsiteX5" fmla="*/ 9469004 w 12191999"/>
              <a:gd name="connsiteY5" fmla="*/ 6068518 h 6857999"/>
              <a:gd name="connsiteX6" fmla="*/ 9452274 w 12191999"/>
              <a:gd name="connsiteY6" fmla="*/ 6011254 h 6857999"/>
              <a:gd name="connsiteX7" fmla="*/ 9452147 w 12191999"/>
              <a:gd name="connsiteY7" fmla="*/ 6011318 h 6857999"/>
              <a:gd name="connsiteX8" fmla="*/ 9468373 w 12191999"/>
              <a:gd name="connsiteY8" fmla="*/ 5959357 h 6857999"/>
              <a:gd name="connsiteX9" fmla="*/ 9512694 w 12191999"/>
              <a:gd name="connsiteY9" fmla="*/ 5937576 h 6857999"/>
              <a:gd name="connsiteX10" fmla="*/ 10582394 w 12191999"/>
              <a:gd name="connsiteY10" fmla="*/ 5817870 h 6857999"/>
              <a:gd name="connsiteX11" fmla="*/ 10583909 w 12191999"/>
              <a:gd name="connsiteY11" fmla="*/ 5817870 h 6857999"/>
              <a:gd name="connsiteX12" fmla="*/ 10635365 w 12191999"/>
              <a:gd name="connsiteY12" fmla="*/ 5988272 h 6857999"/>
              <a:gd name="connsiteX13" fmla="*/ 10526393 w 12191999"/>
              <a:gd name="connsiteY13" fmla="*/ 5988272 h 6857999"/>
              <a:gd name="connsiteX14" fmla="*/ 10178265 w 12191999"/>
              <a:gd name="connsiteY14" fmla="*/ 5810421 h 6857999"/>
              <a:gd name="connsiteX15" fmla="*/ 10209329 w 12191999"/>
              <a:gd name="connsiteY15" fmla="*/ 5810421 h 6857999"/>
              <a:gd name="connsiteX16" fmla="*/ 10262551 w 12191999"/>
              <a:gd name="connsiteY16" fmla="*/ 5822290 h 6857999"/>
              <a:gd name="connsiteX17" fmla="*/ 10283765 w 12191999"/>
              <a:gd name="connsiteY17" fmla="*/ 5868947 h 6857999"/>
              <a:gd name="connsiteX18" fmla="*/ 10262551 w 12191999"/>
              <a:gd name="connsiteY18" fmla="*/ 5915920 h 6857999"/>
              <a:gd name="connsiteX19" fmla="*/ 10209329 w 12191999"/>
              <a:gd name="connsiteY19" fmla="*/ 5928989 h 6857999"/>
              <a:gd name="connsiteX20" fmla="*/ 10178265 w 12191999"/>
              <a:gd name="connsiteY20" fmla="*/ 5928989 h 6857999"/>
              <a:gd name="connsiteX21" fmla="*/ 9572988 w 12191999"/>
              <a:gd name="connsiteY21" fmla="*/ 5734658 h 6857999"/>
              <a:gd name="connsiteX22" fmla="*/ 9572988 w 12191999"/>
              <a:gd name="connsiteY22" fmla="*/ 5903861 h 6857999"/>
              <a:gd name="connsiteX23" fmla="*/ 9571915 w 12191999"/>
              <a:gd name="connsiteY23" fmla="*/ 5903861 h 6857999"/>
              <a:gd name="connsiteX24" fmla="*/ 9528162 w 12191999"/>
              <a:gd name="connsiteY24" fmla="*/ 5867937 h 6857999"/>
              <a:gd name="connsiteX25" fmla="*/ 9472793 w 12191999"/>
              <a:gd name="connsiteY25" fmla="*/ 5858719 h 6857999"/>
              <a:gd name="connsiteX26" fmla="*/ 9381562 w 12191999"/>
              <a:gd name="connsiteY26" fmla="*/ 5906134 h 6857999"/>
              <a:gd name="connsiteX27" fmla="*/ 9349363 w 12191999"/>
              <a:gd name="connsiteY27" fmla="*/ 6009108 h 6857999"/>
              <a:gd name="connsiteX28" fmla="*/ 9383646 w 12191999"/>
              <a:gd name="connsiteY28" fmla="*/ 6122372 h 6857999"/>
              <a:gd name="connsiteX29" fmla="*/ 9481126 w 12191999"/>
              <a:gd name="connsiteY29" fmla="*/ 6170355 h 6857999"/>
              <a:gd name="connsiteX30" fmla="*/ 9543504 w 12191999"/>
              <a:gd name="connsiteY30" fmla="*/ 6152614 h 6857999"/>
              <a:gd name="connsiteX31" fmla="*/ 9579933 w 12191999"/>
              <a:gd name="connsiteY31" fmla="*/ 6110440 h 6857999"/>
              <a:gd name="connsiteX32" fmla="*/ 9581259 w 12191999"/>
              <a:gd name="connsiteY32" fmla="*/ 6110440 h 6857999"/>
              <a:gd name="connsiteX33" fmla="*/ 9581259 w 12191999"/>
              <a:gd name="connsiteY33" fmla="*/ 6163474 h 6857999"/>
              <a:gd name="connsiteX34" fmla="*/ 9672805 w 12191999"/>
              <a:gd name="connsiteY34" fmla="*/ 6163474 h 6857999"/>
              <a:gd name="connsiteX35" fmla="*/ 9672805 w 12191999"/>
              <a:gd name="connsiteY35" fmla="*/ 5734658 h 6857999"/>
              <a:gd name="connsiteX36" fmla="*/ 11195312 w 12191999"/>
              <a:gd name="connsiteY36" fmla="*/ 5728155 h 6857999"/>
              <a:gd name="connsiteX37" fmla="*/ 11195312 w 12191999"/>
              <a:gd name="connsiteY37" fmla="*/ 6163473 h 6857999"/>
              <a:gd name="connsiteX38" fmla="*/ 11499056 w 12191999"/>
              <a:gd name="connsiteY38" fmla="*/ 6163473 h 6857999"/>
              <a:gd name="connsiteX39" fmla="*/ 11499056 w 12191999"/>
              <a:gd name="connsiteY39" fmla="*/ 6081208 h 6857999"/>
              <a:gd name="connsiteX40" fmla="*/ 11307440 w 12191999"/>
              <a:gd name="connsiteY40" fmla="*/ 6081208 h 6857999"/>
              <a:gd name="connsiteX41" fmla="*/ 11307440 w 12191999"/>
              <a:gd name="connsiteY41" fmla="*/ 5982527 h 6857999"/>
              <a:gd name="connsiteX42" fmla="*/ 11482261 w 12191999"/>
              <a:gd name="connsiteY42" fmla="*/ 5982527 h 6857999"/>
              <a:gd name="connsiteX43" fmla="*/ 11482261 w 12191999"/>
              <a:gd name="connsiteY43" fmla="*/ 5900325 h 6857999"/>
              <a:gd name="connsiteX44" fmla="*/ 11307440 w 12191999"/>
              <a:gd name="connsiteY44" fmla="*/ 5900325 h 6857999"/>
              <a:gd name="connsiteX45" fmla="*/ 11307440 w 12191999"/>
              <a:gd name="connsiteY45" fmla="*/ 5810421 h 6857999"/>
              <a:gd name="connsiteX46" fmla="*/ 11492300 w 12191999"/>
              <a:gd name="connsiteY46" fmla="*/ 5810421 h 6857999"/>
              <a:gd name="connsiteX47" fmla="*/ 11492300 w 12191999"/>
              <a:gd name="connsiteY47" fmla="*/ 5728155 h 6857999"/>
              <a:gd name="connsiteX48" fmla="*/ 10507579 w 12191999"/>
              <a:gd name="connsiteY48" fmla="*/ 5728155 h 6857999"/>
              <a:gd name="connsiteX49" fmla="*/ 10347531 w 12191999"/>
              <a:gd name="connsiteY49" fmla="*/ 6163473 h 6857999"/>
              <a:gd name="connsiteX50" fmla="*/ 10461617 w 12191999"/>
              <a:gd name="connsiteY50" fmla="*/ 6163473 h 6857999"/>
              <a:gd name="connsiteX51" fmla="*/ 10494888 w 12191999"/>
              <a:gd name="connsiteY51" fmla="*/ 6070601 h 6857999"/>
              <a:gd name="connsiteX52" fmla="*/ 10653169 w 12191999"/>
              <a:gd name="connsiteY52" fmla="*/ 6070601 h 6857999"/>
              <a:gd name="connsiteX53" fmla="*/ 10684421 w 12191999"/>
              <a:gd name="connsiteY53" fmla="*/ 6163473 h 6857999"/>
              <a:gd name="connsiteX54" fmla="*/ 10807598 w 12191999"/>
              <a:gd name="connsiteY54" fmla="*/ 6163473 h 6857999"/>
              <a:gd name="connsiteX55" fmla="*/ 10645277 w 12191999"/>
              <a:gd name="connsiteY55" fmla="*/ 5728155 h 6857999"/>
              <a:gd name="connsiteX56" fmla="*/ 10066011 w 12191999"/>
              <a:gd name="connsiteY56" fmla="*/ 5728155 h 6857999"/>
              <a:gd name="connsiteX57" fmla="*/ 10066011 w 12191999"/>
              <a:gd name="connsiteY57" fmla="*/ 6163473 h 6857999"/>
              <a:gd name="connsiteX58" fmla="*/ 10178265 w 12191999"/>
              <a:gd name="connsiteY58" fmla="*/ 6163473 h 6857999"/>
              <a:gd name="connsiteX59" fmla="*/ 10178265 w 12191999"/>
              <a:gd name="connsiteY59" fmla="*/ 6011254 h 6857999"/>
              <a:gd name="connsiteX60" fmla="*/ 10223092 w 12191999"/>
              <a:gd name="connsiteY60" fmla="*/ 6011254 h 6857999"/>
              <a:gd name="connsiteX61" fmla="*/ 10395957 w 12191999"/>
              <a:gd name="connsiteY61" fmla="*/ 5871094 h 6857999"/>
              <a:gd name="connsiteX62" fmla="*/ 10202825 w 12191999"/>
              <a:gd name="connsiteY62" fmla="*/ 5728155 h 6857999"/>
              <a:gd name="connsiteX63" fmla="*/ 11028887 w 12191999"/>
              <a:gd name="connsiteY63" fmla="*/ 5720705 h 6857999"/>
              <a:gd name="connsiteX64" fmla="*/ 10855959 w 12191999"/>
              <a:gd name="connsiteY64" fmla="*/ 5776706 h 6857999"/>
              <a:gd name="connsiteX65" fmla="*/ 10787205 w 12191999"/>
              <a:gd name="connsiteY65" fmla="*/ 5947487 h 6857999"/>
              <a:gd name="connsiteX66" fmla="*/ 10866313 w 12191999"/>
              <a:gd name="connsiteY66" fmla="*/ 6120415 h 6857999"/>
              <a:gd name="connsiteX67" fmla="*/ 10944791 w 12191999"/>
              <a:gd name="connsiteY67" fmla="*/ 6158486 h 6857999"/>
              <a:gd name="connsiteX68" fmla="*/ 11029455 w 12191999"/>
              <a:gd name="connsiteY68" fmla="*/ 6170986 h 6857999"/>
              <a:gd name="connsiteX69" fmla="*/ 11102061 w 12191999"/>
              <a:gd name="connsiteY69" fmla="*/ 6164610 h 6857999"/>
              <a:gd name="connsiteX70" fmla="*/ 11154527 w 12191999"/>
              <a:gd name="connsiteY70" fmla="*/ 6153371 h 6857999"/>
              <a:gd name="connsiteX71" fmla="*/ 11149223 w 12191999"/>
              <a:gd name="connsiteY71" fmla="*/ 6062456 h 6857999"/>
              <a:gd name="connsiteX72" fmla="*/ 11149286 w 12191999"/>
              <a:gd name="connsiteY72" fmla="*/ 6062394 h 6857999"/>
              <a:gd name="connsiteX73" fmla="*/ 11043913 w 12191999"/>
              <a:gd name="connsiteY73" fmla="*/ 6084933 h 6857999"/>
              <a:gd name="connsiteX74" fmla="*/ 10942960 w 12191999"/>
              <a:gd name="connsiteY74" fmla="*/ 6048062 h 6857999"/>
              <a:gd name="connsiteX75" fmla="*/ 10903121 w 12191999"/>
              <a:gd name="connsiteY75" fmla="*/ 5947487 h 6857999"/>
              <a:gd name="connsiteX76" fmla="*/ 10939424 w 12191999"/>
              <a:gd name="connsiteY76" fmla="*/ 5846597 h 6857999"/>
              <a:gd name="connsiteX77" fmla="*/ 11034758 w 12191999"/>
              <a:gd name="connsiteY77" fmla="*/ 5806696 h 6857999"/>
              <a:gd name="connsiteX78" fmla="*/ 11144866 w 12191999"/>
              <a:gd name="connsiteY78" fmla="*/ 5837316 h 6857999"/>
              <a:gd name="connsiteX79" fmla="*/ 11154021 w 12191999"/>
              <a:gd name="connsiteY79" fmla="*/ 5743244 h 6857999"/>
              <a:gd name="connsiteX80" fmla="*/ 11028887 w 12191999"/>
              <a:gd name="connsiteY80" fmla="*/ 5720705 h 6857999"/>
              <a:gd name="connsiteX81" fmla="*/ 9896620 w 12191999"/>
              <a:gd name="connsiteY81" fmla="*/ 5720642 h 6857999"/>
              <a:gd name="connsiteX82" fmla="*/ 9831212 w 12191999"/>
              <a:gd name="connsiteY82" fmla="*/ 5726135 h 6857999"/>
              <a:gd name="connsiteX83" fmla="*/ 9770602 w 12191999"/>
              <a:gd name="connsiteY83" fmla="*/ 5747475 h 6857999"/>
              <a:gd name="connsiteX84" fmla="*/ 9726596 w 12191999"/>
              <a:gd name="connsiteY84" fmla="*/ 5788576 h 6857999"/>
              <a:gd name="connsiteX85" fmla="*/ 9708792 w 12191999"/>
              <a:gd name="connsiteY85" fmla="*/ 5854047 h 6857999"/>
              <a:gd name="connsiteX86" fmla="*/ 9742001 w 12191999"/>
              <a:gd name="connsiteY86" fmla="*/ 5938396 h 6857999"/>
              <a:gd name="connsiteX87" fmla="*/ 9775463 w 12191999"/>
              <a:gd name="connsiteY87" fmla="*/ 5961251 h 6857999"/>
              <a:gd name="connsiteX88" fmla="*/ 9812334 w 12191999"/>
              <a:gd name="connsiteY88" fmla="*/ 5977098 h 6857999"/>
              <a:gd name="connsiteX89" fmla="*/ 9850405 w 12191999"/>
              <a:gd name="connsiteY89" fmla="*/ 5988968 h 6857999"/>
              <a:gd name="connsiteX90" fmla="*/ 9882667 w 12191999"/>
              <a:gd name="connsiteY90" fmla="*/ 6000837 h 6857999"/>
              <a:gd name="connsiteX91" fmla="*/ 9906406 w 12191999"/>
              <a:gd name="connsiteY91" fmla="*/ 6017000 h 6857999"/>
              <a:gd name="connsiteX92" fmla="*/ 9914613 w 12191999"/>
              <a:gd name="connsiteY92" fmla="*/ 6042569 h 6857999"/>
              <a:gd name="connsiteX93" fmla="*/ 9892642 w 12191999"/>
              <a:gd name="connsiteY93" fmla="*/ 6076662 h 6857999"/>
              <a:gd name="connsiteX94" fmla="*/ 9842576 w 12191999"/>
              <a:gd name="connsiteY94" fmla="*/ 6084870 h 6857999"/>
              <a:gd name="connsiteX95" fmla="*/ 9722619 w 12191999"/>
              <a:gd name="connsiteY95" fmla="*/ 6056207 h 6857999"/>
              <a:gd name="connsiteX96" fmla="*/ 9712896 w 12191999"/>
              <a:gd name="connsiteY96" fmla="*/ 6152046 h 6857999"/>
              <a:gd name="connsiteX97" fmla="*/ 9712770 w 12191999"/>
              <a:gd name="connsiteY97" fmla="*/ 6152109 h 6857999"/>
              <a:gd name="connsiteX98" fmla="*/ 9841061 w 12191999"/>
              <a:gd name="connsiteY98" fmla="*/ 6170923 h 6857999"/>
              <a:gd name="connsiteX99" fmla="*/ 9972066 w 12191999"/>
              <a:gd name="connsiteY99" fmla="*/ 6140808 h 6857999"/>
              <a:gd name="connsiteX100" fmla="*/ 10030467 w 12191999"/>
              <a:gd name="connsiteY100" fmla="*/ 6027480 h 6857999"/>
              <a:gd name="connsiteX101" fmla="*/ 10022259 w 12191999"/>
              <a:gd name="connsiteY101" fmla="*/ 5976909 h 6857999"/>
              <a:gd name="connsiteX102" fmla="*/ 9998836 w 12191999"/>
              <a:gd name="connsiteY102" fmla="*/ 5942500 h 6857999"/>
              <a:gd name="connsiteX103" fmla="*/ 9966258 w 12191999"/>
              <a:gd name="connsiteY103" fmla="*/ 5919329 h 6857999"/>
              <a:gd name="connsiteX104" fmla="*/ 9928187 w 12191999"/>
              <a:gd name="connsiteY104" fmla="*/ 5904429 h 6857999"/>
              <a:gd name="connsiteX105" fmla="*/ 9891316 w 12191999"/>
              <a:gd name="connsiteY105" fmla="*/ 5892560 h 6857999"/>
              <a:gd name="connsiteX106" fmla="*/ 9857791 w 12191999"/>
              <a:gd name="connsiteY106" fmla="*/ 5881890 h 6857999"/>
              <a:gd name="connsiteX107" fmla="*/ 9834052 w 12191999"/>
              <a:gd name="connsiteY107" fmla="*/ 5868189 h 6857999"/>
              <a:gd name="connsiteX108" fmla="*/ 9824645 w 12191999"/>
              <a:gd name="connsiteY108" fmla="*/ 5847165 h 6857999"/>
              <a:gd name="connsiteX109" fmla="*/ 9853372 w 12191999"/>
              <a:gd name="connsiteY109" fmla="*/ 5812125 h 6857999"/>
              <a:gd name="connsiteX110" fmla="*/ 9879068 w 12191999"/>
              <a:gd name="connsiteY110" fmla="*/ 5807264 h 6857999"/>
              <a:gd name="connsiteX111" fmla="*/ 9902933 w 12191999"/>
              <a:gd name="connsiteY111" fmla="*/ 5806633 h 6857999"/>
              <a:gd name="connsiteX112" fmla="*/ 10000225 w 12191999"/>
              <a:gd name="connsiteY112" fmla="*/ 5826457 h 6857999"/>
              <a:gd name="connsiteX113" fmla="*/ 10007548 w 12191999"/>
              <a:gd name="connsiteY113" fmla="*/ 5736742 h 6857999"/>
              <a:gd name="connsiteX114" fmla="*/ 9896620 w 12191999"/>
              <a:gd name="connsiteY114" fmla="*/ 5720642 h 6857999"/>
              <a:gd name="connsiteX115" fmla="*/ 0 w 12191999"/>
              <a:gd name="connsiteY115" fmla="*/ 0 h 6857999"/>
              <a:gd name="connsiteX116" fmla="*/ 12191999 w 12191999"/>
              <a:gd name="connsiteY116" fmla="*/ 0 h 6857999"/>
              <a:gd name="connsiteX117" fmla="*/ 12191999 w 12191999"/>
              <a:gd name="connsiteY117" fmla="*/ 6857999 h 6857999"/>
              <a:gd name="connsiteX118" fmla="*/ 0 w 12191999"/>
              <a:gd name="connsiteY118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12191999" h="6857999">
                <a:moveTo>
                  <a:pt x="9512694" y="5937576"/>
                </a:moveTo>
                <a:cubicBezTo>
                  <a:pt x="9531445" y="5937954"/>
                  <a:pt x="9546092" y="5945215"/>
                  <a:pt x="9556762" y="5959357"/>
                </a:cubicBezTo>
                <a:cubicBezTo>
                  <a:pt x="9567558" y="5973500"/>
                  <a:pt x="9573114" y="5992188"/>
                  <a:pt x="9573493" y="6015484"/>
                </a:cubicBezTo>
                <a:cubicBezTo>
                  <a:pt x="9573114" y="6037455"/>
                  <a:pt x="9567180" y="6055323"/>
                  <a:pt x="9555689" y="6069086"/>
                </a:cubicBezTo>
                <a:cubicBezTo>
                  <a:pt x="9544325" y="6083608"/>
                  <a:pt x="9529993" y="6091057"/>
                  <a:pt x="9512757" y="6091436"/>
                </a:cubicBezTo>
                <a:cubicBezTo>
                  <a:pt x="9493816" y="6091436"/>
                  <a:pt x="9479232" y="6083797"/>
                  <a:pt x="9469004" y="6068518"/>
                </a:cubicBezTo>
                <a:cubicBezTo>
                  <a:pt x="9457830" y="6054376"/>
                  <a:pt x="9452274" y="6035309"/>
                  <a:pt x="9452274" y="6011254"/>
                </a:cubicBezTo>
                <a:lnTo>
                  <a:pt x="9452147" y="6011318"/>
                </a:lnTo>
                <a:cubicBezTo>
                  <a:pt x="9452147" y="5990862"/>
                  <a:pt x="9457514" y="5973500"/>
                  <a:pt x="9468373" y="5959357"/>
                </a:cubicBezTo>
                <a:cubicBezTo>
                  <a:pt x="9478285" y="5945215"/>
                  <a:pt x="9493059" y="5937954"/>
                  <a:pt x="9512694" y="5937576"/>
                </a:cubicBezTo>
                <a:close/>
                <a:moveTo>
                  <a:pt x="10582394" y="5817870"/>
                </a:moveTo>
                <a:lnTo>
                  <a:pt x="10583909" y="5817870"/>
                </a:lnTo>
                <a:lnTo>
                  <a:pt x="10635365" y="5988272"/>
                </a:lnTo>
                <a:lnTo>
                  <a:pt x="10526393" y="5988272"/>
                </a:lnTo>
                <a:close/>
                <a:moveTo>
                  <a:pt x="10178265" y="5810421"/>
                </a:moveTo>
                <a:lnTo>
                  <a:pt x="10209329" y="5810421"/>
                </a:lnTo>
                <a:cubicBezTo>
                  <a:pt x="10230478" y="5810421"/>
                  <a:pt x="10248219" y="5814398"/>
                  <a:pt x="10262551" y="5822290"/>
                </a:cubicBezTo>
                <a:cubicBezTo>
                  <a:pt x="10276251" y="5831445"/>
                  <a:pt x="10283386" y="5846976"/>
                  <a:pt x="10283765" y="5868947"/>
                </a:cubicBezTo>
                <a:cubicBezTo>
                  <a:pt x="10283386" y="5891108"/>
                  <a:pt x="10276251" y="5906765"/>
                  <a:pt x="10262551" y="5915920"/>
                </a:cubicBezTo>
                <a:cubicBezTo>
                  <a:pt x="10248219" y="5925074"/>
                  <a:pt x="10230478" y="5929431"/>
                  <a:pt x="10209329" y="5928989"/>
                </a:cubicBezTo>
                <a:lnTo>
                  <a:pt x="10178265" y="5928989"/>
                </a:lnTo>
                <a:close/>
                <a:moveTo>
                  <a:pt x="9572988" y="5734658"/>
                </a:moveTo>
                <a:lnTo>
                  <a:pt x="9572988" y="5903861"/>
                </a:lnTo>
                <a:lnTo>
                  <a:pt x="9571915" y="5903861"/>
                </a:lnTo>
                <a:cubicBezTo>
                  <a:pt x="9559288" y="5887130"/>
                  <a:pt x="9544767" y="5875198"/>
                  <a:pt x="9528162" y="5867937"/>
                </a:cubicBezTo>
                <a:cubicBezTo>
                  <a:pt x="9511621" y="5861813"/>
                  <a:pt x="9493122" y="5858719"/>
                  <a:pt x="9472793" y="5858719"/>
                </a:cubicBezTo>
                <a:cubicBezTo>
                  <a:pt x="9433017" y="5859666"/>
                  <a:pt x="9402586" y="5875450"/>
                  <a:pt x="9381562" y="5906134"/>
                </a:cubicBezTo>
                <a:cubicBezTo>
                  <a:pt x="9360096" y="5936249"/>
                  <a:pt x="9349363" y="5970595"/>
                  <a:pt x="9349363" y="6009108"/>
                </a:cubicBezTo>
                <a:cubicBezTo>
                  <a:pt x="9349363" y="6054123"/>
                  <a:pt x="9360790" y="6091878"/>
                  <a:pt x="9383646" y="6122372"/>
                </a:cubicBezTo>
                <a:cubicBezTo>
                  <a:pt x="9405806" y="6153435"/>
                  <a:pt x="9438257" y="6169409"/>
                  <a:pt x="9481126" y="6170355"/>
                </a:cubicBezTo>
                <a:cubicBezTo>
                  <a:pt x="9504676" y="6169977"/>
                  <a:pt x="9525511" y="6164042"/>
                  <a:pt x="9543504" y="6152614"/>
                </a:cubicBezTo>
                <a:cubicBezTo>
                  <a:pt x="9561308" y="6141250"/>
                  <a:pt x="9573493" y="6127234"/>
                  <a:pt x="9579933" y="6110440"/>
                </a:cubicBezTo>
                <a:lnTo>
                  <a:pt x="9581259" y="6110440"/>
                </a:lnTo>
                <a:lnTo>
                  <a:pt x="9581259" y="6163474"/>
                </a:lnTo>
                <a:lnTo>
                  <a:pt x="9672805" y="6163474"/>
                </a:lnTo>
                <a:lnTo>
                  <a:pt x="9672805" y="5734658"/>
                </a:lnTo>
                <a:close/>
                <a:moveTo>
                  <a:pt x="11195312" y="5728155"/>
                </a:moveTo>
                <a:lnTo>
                  <a:pt x="11195312" y="6163473"/>
                </a:lnTo>
                <a:lnTo>
                  <a:pt x="11499056" y="6163473"/>
                </a:lnTo>
                <a:lnTo>
                  <a:pt x="11499056" y="6081208"/>
                </a:lnTo>
                <a:lnTo>
                  <a:pt x="11307440" y="6081208"/>
                </a:lnTo>
                <a:lnTo>
                  <a:pt x="11307440" y="5982527"/>
                </a:lnTo>
                <a:lnTo>
                  <a:pt x="11482261" y="5982527"/>
                </a:lnTo>
                <a:lnTo>
                  <a:pt x="11482261" y="5900325"/>
                </a:lnTo>
                <a:lnTo>
                  <a:pt x="11307440" y="5900325"/>
                </a:lnTo>
                <a:lnTo>
                  <a:pt x="11307440" y="5810421"/>
                </a:lnTo>
                <a:lnTo>
                  <a:pt x="11492300" y="5810421"/>
                </a:lnTo>
                <a:lnTo>
                  <a:pt x="11492300" y="5728155"/>
                </a:lnTo>
                <a:close/>
                <a:moveTo>
                  <a:pt x="10507579" y="5728155"/>
                </a:moveTo>
                <a:lnTo>
                  <a:pt x="10347531" y="6163473"/>
                </a:lnTo>
                <a:lnTo>
                  <a:pt x="10461617" y="6163473"/>
                </a:lnTo>
                <a:lnTo>
                  <a:pt x="10494888" y="6070601"/>
                </a:lnTo>
                <a:lnTo>
                  <a:pt x="10653169" y="6070601"/>
                </a:lnTo>
                <a:lnTo>
                  <a:pt x="10684421" y="6163473"/>
                </a:lnTo>
                <a:lnTo>
                  <a:pt x="10807598" y="6163473"/>
                </a:lnTo>
                <a:lnTo>
                  <a:pt x="10645277" y="5728155"/>
                </a:lnTo>
                <a:close/>
                <a:moveTo>
                  <a:pt x="10066011" y="5728155"/>
                </a:moveTo>
                <a:lnTo>
                  <a:pt x="10066011" y="6163473"/>
                </a:lnTo>
                <a:lnTo>
                  <a:pt x="10178265" y="6163473"/>
                </a:lnTo>
                <a:lnTo>
                  <a:pt x="10178265" y="6011254"/>
                </a:lnTo>
                <a:lnTo>
                  <a:pt x="10223092" y="6011254"/>
                </a:lnTo>
                <a:cubicBezTo>
                  <a:pt x="10336735" y="6010055"/>
                  <a:pt x="10394315" y="5963335"/>
                  <a:pt x="10395957" y="5871094"/>
                </a:cubicBezTo>
                <a:cubicBezTo>
                  <a:pt x="10396398" y="5775444"/>
                  <a:pt x="10332000" y="5727777"/>
                  <a:pt x="10202825" y="5728155"/>
                </a:cubicBezTo>
                <a:close/>
                <a:moveTo>
                  <a:pt x="11028887" y="5720705"/>
                </a:moveTo>
                <a:cubicBezTo>
                  <a:pt x="10958049" y="5720705"/>
                  <a:pt x="10900469" y="5739393"/>
                  <a:pt x="10855959" y="5776706"/>
                </a:cubicBezTo>
                <a:cubicBezTo>
                  <a:pt x="10810881" y="5814651"/>
                  <a:pt x="10787963" y="5871599"/>
                  <a:pt x="10787205" y="5947487"/>
                </a:cubicBezTo>
                <a:cubicBezTo>
                  <a:pt x="10788783" y="6028680"/>
                  <a:pt x="10815174" y="6086322"/>
                  <a:pt x="10866313" y="6120415"/>
                </a:cubicBezTo>
                <a:cubicBezTo>
                  <a:pt x="10890115" y="6137840"/>
                  <a:pt x="10916317" y="6150530"/>
                  <a:pt x="10944791" y="6158486"/>
                </a:cubicBezTo>
                <a:cubicBezTo>
                  <a:pt x="10973138" y="6166820"/>
                  <a:pt x="11001360" y="6170986"/>
                  <a:pt x="11029455" y="6170986"/>
                </a:cubicBezTo>
                <a:cubicBezTo>
                  <a:pt x="11057992" y="6170607"/>
                  <a:pt x="11082173" y="6168461"/>
                  <a:pt x="11102061" y="6164610"/>
                </a:cubicBezTo>
                <a:cubicBezTo>
                  <a:pt x="11121696" y="6161390"/>
                  <a:pt x="11139248" y="6157665"/>
                  <a:pt x="11154527" y="6153371"/>
                </a:cubicBezTo>
                <a:lnTo>
                  <a:pt x="11149223" y="6062456"/>
                </a:lnTo>
                <a:lnTo>
                  <a:pt x="11149286" y="6062394"/>
                </a:lnTo>
                <a:cubicBezTo>
                  <a:pt x="11117403" y="6077041"/>
                  <a:pt x="11082300" y="6084554"/>
                  <a:pt x="11043913" y="6084933"/>
                </a:cubicBezTo>
                <a:cubicBezTo>
                  <a:pt x="11001992" y="6084933"/>
                  <a:pt x="10968340" y="6072622"/>
                  <a:pt x="10942960" y="6048062"/>
                </a:cubicBezTo>
                <a:cubicBezTo>
                  <a:pt x="10916822" y="6023881"/>
                  <a:pt x="10903500" y="5990356"/>
                  <a:pt x="10903121" y="5947487"/>
                </a:cubicBezTo>
                <a:cubicBezTo>
                  <a:pt x="10903500" y="5906008"/>
                  <a:pt x="10915622" y="5872420"/>
                  <a:pt x="10939424" y="5846597"/>
                </a:cubicBezTo>
                <a:cubicBezTo>
                  <a:pt x="10962847" y="5820396"/>
                  <a:pt x="10994604" y="5807074"/>
                  <a:pt x="11034758" y="5806696"/>
                </a:cubicBezTo>
                <a:cubicBezTo>
                  <a:pt x="11072703" y="5806696"/>
                  <a:pt x="11109448" y="5816923"/>
                  <a:pt x="11144866" y="5837316"/>
                </a:cubicBezTo>
                <a:lnTo>
                  <a:pt x="11154021" y="5743244"/>
                </a:lnTo>
                <a:cubicBezTo>
                  <a:pt x="11113678" y="5729039"/>
                  <a:pt x="11071945" y="5721526"/>
                  <a:pt x="11028887" y="5720705"/>
                </a:cubicBezTo>
                <a:close/>
                <a:moveTo>
                  <a:pt x="9896620" y="5720642"/>
                </a:moveTo>
                <a:cubicBezTo>
                  <a:pt x="9874712" y="5720642"/>
                  <a:pt x="9852930" y="5722473"/>
                  <a:pt x="9831212" y="5726135"/>
                </a:cubicBezTo>
                <a:cubicBezTo>
                  <a:pt x="9809303" y="5730428"/>
                  <a:pt x="9789100" y="5737500"/>
                  <a:pt x="9770602" y="5747475"/>
                </a:cubicBezTo>
                <a:cubicBezTo>
                  <a:pt x="9752545" y="5757450"/>
                  <a:pt x="9737834" y="5771151"/>
                  <a:pt x="9726596" y="5788576"/>
                </a:cubicBezTo>
                <a:cubicBezTo>
                  <a:pt x="9714726" y="5806064"/>
                  <a:pt x="9708792" y="5827846"/>
                  <a:pt x="9708792" y="5854047"/>
                </a:cubicBezTo>
                <a:cubicBezTo>
                  <a:pt x="9709171" y="5892433"/>
                  <a:pt x="9720219" y="5920529"/>
                  <a:pt x="9742001" y="5938396"/>
                </a:cubicBezTo>
                <a:cubicBezTo>
                  <a:pt x="9751977" y="5947551"/>
                  <a:pt x="9763088" y="5955127"/>
                  <a:pt x="9775463" y="5961251"/>
                </a:cubicBezTo>
                <a:cubicBezTo>
                  <a:pt x="9787648" y="5967565"/>
                  <a:pt x="9799896" y="5972805"/>
                  <a:pt x="9812334" y="5977098"/>
                </a:cubicBezTo>
                <a:cubicBezTo>
                  <a:pt x="9825719" y="5981138"/>
                  <a:pt x="9838409" y="5985116"/>
                  <a:pt x="9850405" y="5988968"/>
                </a:cubicBezTo>
                <a:cubicBezTo>
                  <a:pt x="9862337" y="5992629"/>
                  <a:pt x="9873133" y="5996544"/>
                  <a:pt x="9882667" y="6000837"/>
                </a:cubicBezTo>
                <a:cubicBezTo>
                  <a:pt x="9892832" y="6004878"/>
                  <a:pt x="9900723" y="6010244"/>
                  <a:pt x="9906406" y="6017000"/>
                </a:cubicBezTo>
                <a:cubicBezTo>
                  <a:pt x="9911898" y="6023692"/>
                  <a:pt x="9914613" y="6032215"/>
                  <a:pt x="9914613" y="6042569"/>
                </a:cubicBezTo>
                <a:cubicBezTo>
                  <a:pt x="9914235" y="6059616"/>
                  <a:pt x="9906910" y="6070980"/>
                  <a:pt x="9892642" y="6076662"/>
                </a:cubicBezTo>
                <a:cubicBezTo>
                  <a:pt x="9879005" y="6082534"/>
                  <a:pt x="9862337" y="6085312"/>
                  <a:pt x="9842576" y="6084870"/>
                </a:cubicBezTo>
                <a:cubicBezTo>
                  <a:pt x="9793519" y="6084049"/>
                  <a:pt x="9753555" y="6074516"/>
                  <a:pt x="9722619" y="6056207"/>
                </a:cubicBezTo>
                <a:lnTo>
                  <a:pt x="9712896" y="6152046"/>
                </a:lnTo>
                <a:lnTo>
                  <a:pt x="9712770" y="6152109"/>
                </a:lnTo>
                <a:cubicBezTo>
                  <a:pt x="9754755" y="6164673"/>
                  <a:pt x="9797497" y="6170923"/>
                  <a:pt x="9841061" y="6170923"/>
                </a:cubicBezTo>
                <a:cubicBezTo>
                  <a:pt x="9891253" y="6171365"/>
                  <a:pt x="9934879" y="6161327"/>
                  <a:pt x="9972066" y="6140808"/>
                </a:cubicBezTo>
                <a:cubicBezTo>
                  <a:pt x="10009821" y="6120100"/>
                  <a:pt x="10029267" y="6082344"/>
                  <a:pt x="10030467" y="6027480"/>
                </a:cubicBezTo>
                <a:cubicBezTo>
                  <a:pt x="10030467" y="6007340"/>
                  <a:pt x="10027752" y="5990546"/>
                  <a:pt x="10022259" y="5976909"/>
                </a:cubicBezTo>
                <a:cubicBezTo>
                  <a:pt x="10016577" y="5963082"/>
                  <a:pt x="10008748" y="5951655"/>
                  <a:pt x="9998836" y="5942500"/>
                </a:cubicBezTo>
                <a:cubicBezTo>
                  <a:pt x="9989302" y="5933345"/>
                  <a:pt x="9978443" y="5925643"/>
                  <a:pt x="9966258" y="5919329"/>
                </a:cubicBezTo>
                <a:cubicBezTo>
                  <a:pt x="9954325" y="5913205"/>
                  <a:pt x="9941572" y="5908280"/>
                  <a:pt x="9928187" y="5904429"/>
                </a:cubicBezTo>
                <a:cubicBezTo>
                  <a:pt x="9915813" y="5900389"/>
                  <a:pt x="9903501" y="5896411"/>
                  <a:pt x="9891316" y="5892560"/>
                </a:cubicBezTo>
                <a:cubicBezTo>
                  <a:pt x="9878942" y="5888898"/>
                  <a:pt x="9867767" y="5885362"/>
                  <a:pt x="9857791" y="5881890"/>
                </a:cubicBezTo>
                <a:cubicBezTo>
                  <a:pt x="9847816" y="5878228"/>
                  <a:pt x="9839924" y="5873682"/>
                  <a:pt x="9834052" y="5868189"/>
                </a:cubicBezTo>
                <a:cubicBezTo>
                  <a:pt x="9827739" y="5862886"/>
                  <a:pt x="9824645" y="5855878"/>
                  <a:pt x="9824645" y="5847165"/>
                </a:cubicBezTo>
                <a:cubicBezTo>
                  <a:pt x="9825466" y="5828477"/>
                  <a:pt x="9835063" y="5816797"/>
                  <a:pt x="9853372" y="5812125"/>
                </a:cubicBezTo>
                <a:cubicBezTo>
                  <a:pt x="9861706" y="5809663"/>
                  <a:pt x="9870293" y="5808084"/>
                  <a:pt x="9879068" y="5807264"/>
                </a:cubicBezTo>
                <a:cubicBezTo>
                  <a:pt x="9887844" y="5806885"/>
                  <a:pt x="9895799" y="5806633"/>
                  <a:pt x="9902933" y="5806633"/>
                </a:cubicBezTo>
                <a:cubicBezTo>
                  <a:pt x="9936774" y="5806633"/>
                  <a:pt x="9969225" y="5813262"/>
                  <a:pt x="10000225" y="5826457"/>
                </a:cubicBezTo>
                <a:lnTo>
                  <a:pt x="10007548" y="5736742"/>
                </a:lnTo>
                <a:cubicBezTo>
                  <a:pt x="9976801" y="5726388"/>
                  <a:pt x="9939804" y="5721021"/>
                  <a:pt x="9896620" y="5720642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bIns="720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DF177B-44F7-55AD-9A0A-F8A6D15676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6" y="3779428"/>
            <a:ext cx="10801348" cy="446084"/>
          </a:xfrm>
        </p:spPr>
        <p:txBody>
          <a:bodyPr vert="horz" wrap="square" anchor="b">
            <a:spAutoFit/>
          </a:bodyPr>
          <a:lstStyle>
            <a:lvl1pPr algn="l">
              <a:defRPr sz="3200" cap="all" spc="250" baseline="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4D3F85E-BDBD-2F50-2927-7BAD7577D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5326" y="4630738"/>
            <a:ext cx="1080134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7F612FB-ED7A-0D44-F905-EE102EA23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4991176"/>
            <a:ext cx="10801349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  <a:lvl6pPr marL="0" indent="0">
              <a:buNone/>
              <a:defRPr>
                <a:solidFill>
                  <a:schemeClr val="bg1"/>
                </a:solidFill>
              </a:defRPr>
            </a:lvl6pPr>
            <a:lvl7pPr marL="0" indent="0">
              <a:buNone/>
              <a:defRPr>
                <a:solidFill>
                  <a:schemeClr val="bg1"/>
                </a:solidFill>
              </a:defRPr>
            </a:lvl7pPr>
            <a:lvl8pPr marL="0" indent="0">
              <a:buNone/>
              <a:defRPr>
                <a:solidFill>
                  <a:schemeClr val="bg1"/>
                </a:solidFill>
              </a:defRPr>
            </a:lvl8pPr>
            <a:lvl9pPr marL="0" indent="0"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Datum</a:t>
            </a:r>
            <a:endParaRPr lang="de-DE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F17ABD3C-EAA9-C4EF-F7F0-A7361DD96777}"/>
              </a:ext>
            </a:extLst>
          </p:cNvPr>
          <p:cNvGrpSpPr>
            <a:grpSpLocks/>
          </p:cNvGrpSpPr>
          <p:nvPr userDrawn="1"/>
        </p:nvGrpSpPr>
        <p:grpSpPr>
          <a:xfrm>
            <a:off x="9349364" y="5720643"/>
            <a:ext cx="2149692" cy="450344"/>
            <a:chOff x="4476750" y="3090862"/>
            <a:chExt cx="3243166" cy="679418"/>
          </a:xfrm>
          <a:solidFill>
            <a:schemeClr val="bg1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5FDEC6B1-948D-1BED-DA26-64EA051BFD5E}"/>
                </a:ext>
              </a:extLst>
            </p:cNvPr>
            <p:cNvSpPr/>
            <p:nvPr/>
          </p:nvSpPr>
          <p:spPr>
            <a:xfrm>
              <a:off x="4476750" y="3112007"/>
              <a:ext cx="488061" cy="657320"/>
            </a:xfrm>
            <a:custGeom>
              <a:avLst/>
              <a:gdLst>
                <a:gd name="connsiteX0" fmla="*/ 488061 w 488061"/>
                <a:gd name="connsiteY0" fmla="*/ 0 h 657320"/>
                <a:gd name="connsiteX1" fmla="*/ 337375 w 488061"/>
                <a:gd name="connsiteY1" fmla="*/ 0 h 657320"/>
                <a:gd name="connsiteX2" fmla="*/ 337375 w 488061"/>
                <a:gd name="connsiteY2" fmla="*/ 255270 h 657320"/>
                <a:gd name="connsiteX3" fmla="*/ 335756 w 488061"/>
                <a:gd name="connsiteY3" fmla="*/ 255270 h 657320"/>
                <a:gd name="connsiteX4" fmla="*/ 269748 w 488061"/>
                <a:gd name="connsiteY4" fmla="*/ 201073 h 657320"/>
                <a:gd name="connsiteX5" fmla="*/ 186214 w 488061"/>
                <a:gd name="connsiteY5" fmla="*/ 187166 h 657320"/>
                <a:gd name="connsiteX6" fmla="*/ 48578 w 488061"/>
                <a:gd name="connsiteY6" fmla="*/ 258699 h 657320"/>
                <a:gd name="connsiteX7" fmla="*/ 0 w 488061"/>
                <a:gd name="connsiteY7" fmla="*/ 414052 h 657320"/>
                <a:gd name="connsiteX8" fmla="*/ 51721 w 488061"/>
                <a:gd name="connsiteY8" fmla="*/ 584930 h 657320"/>
                <a:gd name="connsiteX9" fmla="*/ 198787 w 488061"/>
                <a:gd name="connsiteY9" fmla="*/ 657320 h 657320"/>
                <a:gd name="connsiteX10" fmla="*/ 292894 w 488061"/>
                <a:gd name="connsiteY10" fmla="*/ 630555 h 657320"/>
                <a:gd name="connsiteX11" fmla="*/ 347853 w 488061"/>
                <a:gd name="connsiteY11" fmla="*/ 566928 h 657320"/>
                <a:gd name="connsiteX12" fmla="*/ 349853 w 488061"/>
                <a:gd name="connsiteY12" fmla="*/ 566928 h 657320"/>
                <a:gd name="connsiteX13" fmla="*/ 349853 w 488061"/>
                <a:gd name="connsiteY13" fmla="*/ 646938 h 657320"/>
                <a:gd name="connsiteX14" fmla="*/ 487966 w 488061"/>
                <a:gd name="connsiteY14" fmla="*/ 646938 h 657320"/>
                <a:gd name="connsiteX15" fmla="*/ 487966 w 488061"/>
                <a:gd name="connsiteY15" fmla="*/ 0 h 657320"/>
                <a:gd name="connsiteX16" fmla="*/ 155067 w 488061"/>
                <a:gd name="connsiteY16" fmla="*/ 417386 h 657320"/>
                <a:gd name="connsiteX17" fmla="*/ 179546 w 488061"/>
                <a:gd name="connsiteY17" fmla="*/ 338995 h 657320"/>
                <a:gd name="connsiteX18" fmla="*/ 246412 w 488061"/>
                <a:gd name="connsiteY18" fmla="*/ 306134 h 657320"/>
                <a:gd name="connsiteX19" fmla="*/ 312896 w 488061"/>
                <a:gd name="connsiteY19" fmla="*/ 338995 h 657320"/>
                <a:gd name="connsiteX20" fmla="*/ 338138 w 488061"/>
                <a:gd name="connsiteY20" fmla="*/ 423672 h 657320"/>
                <a:gd name="connsiteX21" fmla="*/ 311277 w 488061"/>
                <a:gd name="connsiteY21" fmla="*/ 504539 h 657320"/>
                <a:gd name="connsiteX22" fmla="*/ 246507 w 488061"/>
                <a:gd name="connsiteY22" fmla="*/ 538258 h 657320"/>
                <a:gd name="connsiteX23" fmla="*/ 180499 w 488061"/>
                <a:gd name="connsiteY23" fmla="*/ 503682 h 657320"/>
                <a:gd name="connsiteX24" fmla="*/ 155258 w 488061"/>
                <a:gd name="connsiteY24" fmla="*/ 417290 h 65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8061" h="657320">
                  <a:moveTo>
                    <a:pt x="488061" y="0"/>
                  </a:moveTo>
                  <a:lnTo>
                    <a:pt x="337375" y="0"/>
                  </a:lnTo>
                  <a:lnTo>
                    <a:pt x="337375" y="255270"/>
                  </a:lnTo>
                  <a:lnTo>
                    <a:pt x="335756" y="255270"/>
                  </a:lnTo>
                  <a:cubicBezTo>
                    <a:pt x="316706" y="230029"/>
                    <a:pt x="294799" y="212027"/>
                    <a:pt x="269748" y="201073"/>
                  </a:cubicBezTo>
                  <a:cubicBezTo>
                    <a:pt x="244793" y="191834"/>
                    <a:pt x="216884" y="187166"/>
                    <a:pt x="186214" y="187166"/>
                  </a:cubicBezTo>
                  <a:cubicBezTo>
                    <a:pt x="126206" y="188595"/>
                    <a:pt x="80296" y="212408"/>
                    <a:pt x="48578" y="258699"/>
                  </a:cubicBezTo>
                  <a:cubicBezTo>
                    <a:pt x="16193" y="304133"/>
                    <a:pt x="0" y="355949"/>
                    <a:pt x="0" y="414052"/>
                  </a:cubicBezTo>
                  <a:cubicBezTo>
                    <a:pt x="0" y="481965"/>
                    <a:pt x="17240" y="538925"/>
                    <a:pt x="51721" y="584930"/>
                  </a:cubicBezTo>
                  <a:cubicBezTo>
                    <a:pt x="85153" y="631793"/>
                    <a:pt x="134112" y="655892"/>
                    <a:pt x="198787" y="657320"/>
                  </a:cubicBezTo>
                  <a:cubicBezTo>
                    <a:pt x="234315" y="656749"/>
                    <a:pt x="265748" y="647795"/>
                    <a:pt x="292894" y="630555"/>
                  </a:cubicBezTo>
                  <a:cubicBezTo>
                    <a:pt x="319754" y="613410"/>
                    <a:pt x="338138" y="592265"/>
                    <a:pt x="347853" y="566928"/>
                  </a:cubicBezTo>
                  <a:lnTo>
                    <a:pt x="349853" y="566928"/>
                  </a:lnTo>
                  <a:lnTo>
                    <a:pt x="349853" y="646938"/>
                  </a:lnTo>
                  <a:lnTo>
                    <a:pt x="487966" y="646938"/>
                  </a:lnTo>
                  <a:lnTo>
                    <a:pt x="487966" y="0"/>
                  </a:lnTo>
                  <a:close/>
                  <a:moveTo>
                    <a:pt x="155067" y="417386"/>
                  </a:moveTo>
                  <a:cubicBezTo>
                    <a:pt x="155067" y="386525"/>
                    <a:pt x="163163" y="360331"/>
                    <a:pt x="179546" y="338995"/>
                  </a:cubicBezTo>
                  <a:cubicBezTo>
                    <a:pt x="194501" y="317659"/>
                    <a:pt x="216789" y="306705"/>
                    <a:pt x="246412" y="306134"/>
                  </a:cubicBezTo>
                  <a:cubicBezTo>
                    <a:pt x="274701" y="306705"/>
                    <a:pt x="296799" y="317659"/>
                    <a:pt x="312896" y="338995"/>
                  </a:cubicBezTo>
                  <a:cubicBezTo>
                    <a:pt x="329184" y="360331"/>
                    <a:pt x="337566" y="388525"/>
                    <a:pt x="338138" y="423672"/>
                  </a:cubicBezTo>
                  <a:cubicBezTo>
                    <a:pt x="337566" y="456819"/>
                    <a:pt x="328613" y="483775"/>
                    <a:pt x="311277" y="504539"/>
                  </a:cubicBezTo>
                  <a:cubicBezTo>
                    <a:pt x="294132" y="526447"/>
                    <a:pt x="272510" y="537686"/>
                    <a:pt x="246507" y="538258"/>
                  </a:cubicBezTo>
                  <a:cubicBezTo>
                    <a:pt x="217932" y="538258"/>
                    <a:pt x="195929" y="526733"/>
                    <a:pt x="180499" y="503682"/>
                  </a:cubicBezTo>
                  <a:cubicBezTo>
                    <a:pt x="163640" y="482346"/>
                    <a:pt x="155258" y="453581"/>
                    <a:pt x="155258" y="4172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DB0B1E6-F3C7-A879-06E9-906053C31ED6}"/>
                </a:ext>
              </a:extLst>
            </p:cNvPr>
            <p:cNvSpPr/>
            <p:nvPr/>
          </p:nvSpPr>
          <p:spPr>
            <a:xfrm>
              <a:off x="5019008" y="3090862"/>
              <a:ext cx="485298" cy="679344"/>
            </a:xfrm>
            <a:custGeom>
              <a:avLst/>
              <a:gdLst>
                <a:gd name="connsiteX0" fmla="*/ 6001 w 485298"/>
                <a:gd name="connsiteY0" fmla="*/ 650938 h 679344"/>
                <a:gd name="connsiteX1" fmla="*/ 199549 w 485298"/>
                <a:gd name="connsiteY1" fmla="*/ 679323 h 679344"/>
                <a:gd name="connsiteX2" fmla="*/ 397192 w 485298"/>
                <a:gd name="connsiteY2" fmla="*/ 633889 h 679344"/>
                <a:gd name="connsiteX3" fmla="*/ 485299 w 485298"/>
                <a:gd name="connsiteY3" fmla="*/ 462915 h 679344"/>
                <a:gd name="connsiteX4" fmla="*/ 472916 w 485298"/>
                <a:gd name="connsiteY4" fmla="*/ 386620 h 679344"/>
                <a:gd name="connsiteX5" fmla="*/ 437579 w 485298"/>
                <a:gd name="connsiteY5" fmla="*/ 334709 h 679344"/>
                <a:gd name="connsiteX6" fmla="*/ 388430 w 485298"/>
                <a:gd name="connsiteY6" fmla="*/ 299752 h 679344"/>
                <a:gd name="connsiteX7" fmla="*/ 330994 w 485298"/>
                <a:gd name="connsiteY7" fmla="*/ 277273 h 679344"/>
                <a:gd name="connsiteX8" fmla="*/ 275368 w 485298"/>
                <a:gd name="connsiteY8" fmla="*/ 259366 h 679344"/>
                <a:gd name="connsiteX9" fmla="*/ 224790 w 485298"/>
                <a:gd name="connsiteY9" fmla="*/ 243269 h 679344"/>
                <a:gd name="connsiteX10" fmla="*/ 188976 w 485298"/>
                <a:gd name="connsiteY10" fmla="*/ 222599 h 679344"/>
                <a:gd name="connsiteX11" fmla="*/ 174784 w 485298"/>
                <a:gd name="connsiteY11" fmla="*/ 190881 h 679344"/>
                <a:gd name="connsiteX12" fmla="*/ 218123 w 485298"/>
                <a:gd name="connsiteY12" fmla="*/ 138017 h 679344"/>
                <a:gd name="connsiteX13" fmla="*/ 256889 w 485298"/>
                <a:gd name="connsiteY13" fmla="*/ 130683 h 679344"/>
                <a:gd name="connsiteX14" fmla="*/ 292894 w 485298"/>
                <a:gd name="connsiteY14" fmla="*/ 129731 h 679344"/>
                <a:gd name="connsiteX15" fmla="*/ 439674 w 485298"/>
                <a:gd name="connsiteY15" fmla="*/ 159639 h 679344"/>
                <a:gd name="connsiteX16" fmla="*/ 450723 w 485298"/>
                <a:gd name="connsiteY16" fmla="*/ 24289 h 679344"/>
                <a:gd name="connsiteX17" fmla="*/ 283369 w 485298"/>
                <a:gd name="connsiteY17" fmla="*/ 0 h 679344"/>
                <a:gd name="connsiteX18" fmla="*/ 184690 w 485298"/>
                <a:gd name="connsiteY18" fmla="*/ 8287 h 679344"/>
                <a:gd name="connsiteX19" fmla="*/ 93250 w 485298"/>
                <a:gd name="connsiteY19" fmla="*/ 40481 h 679344"/>
                <a:gd name="connsiteX20" fmla="*/ 26860 w 485298"/>
                <a:gd name="connsiteY20" fmla="*/ 102489 h 679344"/>
                <a:gd name="connsiteX21" fmla="*/ 0 w 485298"/>
                <a:gd name="connsiteY21" fmla="*/ 201263 h 679344"/>
                <a:gd name="connsiteX22" fmla="*/ 50101 w 485298"/>
                <a:gd name="connsiteY22" fmla="*/ 328517 h 679344"/>
                <a:gd name="connsiteX23" fmla="*/ 100584 w 485298"/>
                <a:gd name="connsiteY23" fmla="*/ 362998 h 679344"/>
                <a:gd name="connsiteX24" fmla="*/ 156210 w 485298"/>
                <a:gd name="connsiteY24" fmla="*/ 386906 h 679344"/>
                <a:gd name="connsiteX25" fmla="*/ 213646 w 485298"/>
                <a:gd name="connsiteY25" fmla="*/ 404813 h 679344"/>
                <a:gd name="connsiteX26" fmla="*/ 262319 w 485298"/>
                <a:gd name="connsiteY26" fmla="*/ 422720 h 679344"/>
                <a:gd name="connsiteX27" fmla="*/ 298133 w 485298"/>
                <a:gd name="connsiteY27" fmla="*/ 447104 h 679344"/>
                <a:gd name="connsiteX28" fmla="*/ 310515 w 485298"/>
                <a:gd name="connsiteY28" fmla="*/ 485680 h 679344"/>
                <a:gd name="connsiteX29" fmla="*/ 277368 w 485298"/>
                <a:gd name="connsiteY29" fmla="*/ 537115 h 679344"/>
                <a:gd name="connsiteX30" fmla="*/ 201835 w 485298"/>
                <a:gd name="connsiteY30" fmla="*/ 549497 h 679344"/>
                <a:gd name="connsiteX31" fmla="*/ 20860 w 485298"/>
                <a:gd name="connsiteY31" fmla="*/ 506254 h 679344"/>
                <a:gd name="connsiteX32" fmla="*/ 6191 w 485298"/>
                <a:gd name="connsiteY32" fmla="*/ 650843 h 67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85298" h="679344">
                  <a:moveTo>
                    <a:pt x="6001" y="650938"/>
                  </a:moveTo>
                  <a:cubicBezTo>
                    <a:pt x="69342" y="669893"/>
                    <a:pt x="133826" y="679323"/>
                    <a:pt x="199549" y="679323"/>
                  </a:cubicBezTo>
                  <a:cubicBezTo>
                    <a:pt x="275273" y="679990"/>
                    <a:pt x="341090" y="664845"/>
                    <a:pt x="397192" y="633889"/>
                  </a:cubicBezTo>
                  <a:cubicBezTo>
                    <a:pt x="454152" y="602647"/>
                    <a:pt x="483489" y="545687"/>
                    <a:pt x="485299" y="462915"/>
                  </a:cubicBezTo>
                  <a:cubicBezTo>
                    <a:pt x="485299" y="432530"/>
                    <a:pt x="481203" y="407194"/>
                    <a:pt x="472916" y="386620"/>
                  </a:cubicBezTo>
                  <a:cubicBezTo>
                    <a:pt x="464344" y="365760"/>
                    <a:pt x="452533" y="348520"/>
                    <a:pt x="437579" y="334709"/>
                  </a:cubicBezTo>
                  <a:cubicBezTo>
                    <a:pt x="423196" y="320897"/>
                    <a:pt x="406813" y="309277"/>
                    <a:pt x="388430" y="299752"/>
                  </a:cubicBezTo>
                  <a:cubicBezTo>
                    <a:pt x="370427" y="290513"/>
                    <a:pt x="351187" y="283083"/>
                    <a:pt x="330994" y="277273"/>
                  </a:cubicBezTo>
                  <a:cubicBezTo>
                    <a:pt x="312325" y="271177"/>
                    <a:pt x="293751" y="265176"/>
                    <a:pt x="275368" y="259366"/>
                  </a:cubicBezTo>
                  <a:cubicBezTo>
                    <a:pt x="256699" y="253841"/>
                    <a:pt x="239840" y="248507"/>
                    <a:pt x="224790" y="243269"/>
                  </a:cubicBezTo>
                  <a:cubicBezTo>
                    <a:pt x="209740" y="237744"/>
                    <a:pt x="197834" y="230886"/>
                    <a:pt x="188976" y="222599"/>
                  </a:cubicBezTo>
                  <a:cubicBezTo>
                    <a:pt x="179451" y="214598"/>
                    <a:pt x="174784" y="204026"/>
                    <a:pt x="174784" y="190881"/>
                  </a:cubicBezTo>
                  <a:cubicBezTo>
                    <a:pt x="176022" y="162687"/>
                    <a:pt x="190500" y="145066"/>
                    <a:pt x="218123" y="138017"/>
                  </a:cubicBezTo>
                  <a:cubicBezTo>
                    <a:pt x="230696" y="134303"/>
                    <a:pt x="243650" y="131921"/>
                    <a:pt x="256889" y="130683"/>
                  </a:cubicBezTo>
                  <a:cubicBezTo>
                    <a:pt x="270129" y="130112"/>
                    <a:pt x="282131" y="129731"/>
                    <a:pt x="292894" y="129731"/>
                  </a:cubicBezTo>
                  <a:cubicBezTo>
                    <a:pt x="343948" y="129731"/>
                    <a:pt x="392906" y="139732"/>
                    <a:pt x="439674" y="159639"/>
                  </a:cubicBezTo>
                  <a:lnTo>
                    <a:pt x="450723" y="24289"/>
                  </a:lnTo>
                  <a:cubicBezTo>
                    <a:pt x="404336" y="8668"/>
                    <a:pt x="348520" y="572"/>
                    <a:pt x="283369" y="0"/>
                  </a:cubicBezTo>
                  <a:cubicBezTo>
                    <a:pt x="250317" y="0"/>
                    <a:pt x="217456" y="2762"/>
                    <a:pt x="184690" y="8287"/>
                  </a:cubicBezTo>
                  <a:cubicBezTo>
                    <a:pt x="151638" y="14764"/>
                    <a:pt x="121158" y="25432"/>
                    <a:pt x="93250" y="40481"/>
                  </a:cubicBezTo>
                  <a:cubicBezTo>
                    <a:pt x="66008" y="55531"/>
                    <a:pt x="43815" y="76200"/>
                    <a:pt x="26860" y="102489"/>
                  </a:cubicBezTo>
                  <a:cubicBezTo>
                    <a:pt x="8953" y="128873"/>
                    <a:pt x="0" y="161735"/>
                    <a:pt x="0" y="201263"/>
                  </a:cubicBezTo>
                  <a:cubicBezTo>
                    <a:pt x="572" y="259175"/>
                    <a:pt x="17240" y="301562"/>
                    <a:pt x="50101" y="328517"/>
                  </a:cubicBezTo>
                  <a:cubicBezTo>
                    <a:pt x="65151" y="342329"/>
                    <a:pt x="81915" y="353759"/>
                    <a:pt x="100584" y="362998"/>
                  </a:cubicBezTo>
                  <a:cubicBezTo>
                    <a:pt x="118967" y="372523"/>
                    <a:pt x="137446" y="380429"/>
                    <a:pt x="156210" y="386906"/>
                  </a:cubicBezTo>
                  <a:cubicBezTo>
                    <a:pt x="176403" y="393001"/>
                    <a:pt x="195548" y="399002"/>
                    <a:pt x="213646" y="404813"/>
                  </a:cubicBezTo>
                  <a:cubicBezTo>
                    <a:pt x="231648" y="410337"/>
                    <a:pt x="247936" y="416243"/>
                    <a:pt x="262319" y="422720"/>
                  </a:cubicBezTo>
                  <a:cubicBezTo>
                    <a:pt x="277654" y="428816"/>
                    <a:pt x="289560" y="436912"/>
                    <a:pt x="298133" y="447104"/>
                  </a:cubicBezTo>
                  <a:cubicBezTo>
                    <a:pt x="306419" y="457200"/>
                    <a:pt x="310515" y="470059"/>
                    <a:pt x="310515" y="485680"/>
                  </a:cubicBezTo>
                  <a:cubicBezTo>
                    <a:pt x="309944" y="511397"/>
                    <a:pt x="298894" y="528542"/>
                    <a:pt x="277368" y="537115"/>
                  </a:cubicBezTo>
                  <a:cubicBezTo>
                    <a:pt x="256794" y="545973"/>
                    <a:pt x="231648" y="550164"/>
                    <a:pt x="201835" y="549497"/>
                  </a:cubicBezTo>
                  <a:cubicBezTo>
                    <a:pt x="127825" y="548259"/>
                    <a:pt x="67532" y="533876"/>
                    <a:pt x="20860" y="506254"/>
                  </a:cubicBezTo>
                  <a:lnTo>
                    <a:pt x="6191" y="65084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4B1B2BE8-2E50-A5AB-A6A3-7FA75D6C3303}"/>
                </a:ext>
              </a:extLst>
            </p:cNvPr>
            <p:cNvSpPr/>
            <p:nvPr/>
          </p:nvSpPr>
          <p:spPr>
            <a:xfrm>
              <a:off x="5557932" y="3102193"/>
              <a:ext cx="497779" cy="656752"/>
            </a:xfrm>
            <a:custGeom>
              <a:avLst/>
              <a:gdLst>
                <a:gd name="connsiteX0" fmla="*/ 0 w 497779"/>
                <a:gd name="connsiteY0" fmla="*/ 656752 h 656752"/>
                <a:gd name="connsiteX1" fmla="*/ 169354 w 497779"/>
                <a:gd name="connsiteY1" fmla="*/ 656752 h 656752"/>
                <a:gd name="connsiteX2" fmla="*/ 169354 w 497779"/>
                <a:gd name="connsiteY2" fmla="*/ 427104 h 656752"/>
                <a:gd name="connsiteX3" fmla="*/ 236982 w 497779"/>
                <a:gd name="connsiteY3" fmla="*/ 427104 h 656752"/>
                <a:gd name="connsiteX4" fmla="*/ 497777 w 497779"/>
                <a:gd name="connsiteY4" fmla="*/ 215649 h 656752"/>
                <a:gd name="connsiteX5" fmla="*/ 206407 w 497779"/>
                <a:gd name="connsiteY5" fmla="*/ 3 h 656752"/>
                <a:gd name="connsiteX6" fmla="*/ 0 w 497779"/>
                <a:gd name="connsiteY6" fmla="*/ 3 h 656752"/>
                <a:gd name="connsiteX7" fmla="*/ 0 w 497779"/>
                <a:gd name="connsiteY7" fmla="*/ 656752 h 656752"/>
                <a:gd name="connsiteX8" fmla="*/ 169354 w 497779"/>
                <a:gd name="connsiteY8" fmla="*/ 124114 h 656752"/>
                <a:gd name="connsiteX9" fmla="*/ 216218 w 497779"/>
                <a:gd name="connsiteY9" fmla="*/ 124114 h 656752"/>
                <a:gd name="connsiteX10" fmla="*/ 296513 w 497779"/>
                <a:gd name="connsiteY10" fmla="*/ 142021 h 656752"/>
                <a:gd name="connsiteX11" fmla="*/ 328517 w 497779"/>
                <a:gd name="connsiteY11" fmla="*/ 212411 h 656752"/>
                <a:gd name="connsiteX12" fmla="*/ 296513 w 497779"/>
                <a:gd name="connsiteY12" fmla="*/ 283277 h 656752"/>
                <a:gd name="connsiteX13" fmla="*/ 216218 w 497779"/>
                <a:gd name="connsiteY13" fmla="*/ 302994 h 656752"/>
                <a:gd name="connsiteX14" fmla="*/ 169354 w 497779"/>
                <a:gd name="connsiteY14" fmla="*/ 302994 h 656752"/>
                <a:gd name="connsiteX15" fmla="*/ 169354 w 497779"/>
                <a:gd name="connsiteY15" fmla="*/ 124114 h 6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7779" h="656752">
                  <a:moveTo>
                    <a:pt x="0" y="656752"/>
                  </a:moveTo>
                  <a:lnTo>
                    <a:pt x="169354" y="656752"/>
                  </a:lnTo>
                  <a:lnTo>
                    <a:pt x="169354" y="427104"/>
                  </a:lnTo>
                  <a:lnTo>
                    <a:pt x="236982" y="427104"/>
                  </a:lnTo>
                  <a:cubicBezTo>
                    <a:pt x="408432" y="425295"/>
                    <a:pt x="495300" y="354810"/>
                    <a:pt x="497777" y="215649"/>
                  </a:cubicBezTo>
                  <a:cubicBezTo>
                    <a:pt x="498443" y="71346"/>
                    <a:pt x="401288" y="-568"/>
                    <a:pt x="206407" y="3"/>
                  </a:cubicBezTo>
                  <a:lnTo>
                    <a:pt x="0" y="3"/>
                  </a:lnTo>
                  <a:lnTo>
                    <a:pt x="0" y="656752"/>
                  </a:lnTo>
                  <a:close/>
                  <a:moveTo>
                    <a:pt x="169354" y="124114"/>
                  </a:moveTo>
                  <a:lnTo>
                    <a:pt x="216218" y="124114"/>
                  </a:lnTo>
                  <a:cubicBezTo>
                    <a:pt x="248126" y="124114"/>
                    <a:pt x="274891" y="130115"/>
                    <a:pt x="296513" y="142021"/>
                  </a:cubicBezTo>
                  <a:cubicBezTo>
                    <a:pt x="317182" y="155832"/>
                    <a:pt x="327946" y="179264"/>
                    <a:pt x="328517" y="212411"/>
                  </a:cubicBezTo>
                  <a:cubicBezTo>
                    <a:pt x="327946" y="245844"/>
                    <a:pt x="317182" y="269466"/>
                    <a:pt x="296513" y="283277"/>
                  </a:cubicBezTo>
                  <a:cubicBezTo>
                    <a:pt x="274891" y="297088"/>
                    <a:pt x="248126" y="303660"/>
                    <a:pt x="216218" y="302994"/>
                  </a:cubicBezTo>
                  <a:lnTo>
                    <a:pt x="169354" y="302994"/>
                  </a:lnTo>
                  <a:lnTo>
                    <a:pt x="169354" y="12411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86A3BB4-3E6C-5E12-88C6-7D458E4EC8B3}"/>
                </a:ext>
              </a:extLst>
            </p:cNvPr>
            <p:cNvSpPr/>
            <p:nvPr/>
          </p:nvSpPr>
          <p:spPr>
            <a:xfrm>
              <a:off x="5982652" y="3102196"/>
              <a:ext cx="694086" cy="656748"/>
            </a:xfrm>
            <a:custGeom>
              <a:avLst/>
              <a:gdLst>
                <a:gd name="connsiteX0" fmla="*/ 0 w 694086"/>
                <a:gd name="connsiteY0" fmla="*/ 656749 h 656748"/>
                <a:gd name="connsiteX1" fmla="*/ 172117 w 694086"/>
                <a:gd name="connsiteY1" fmla="*/ 656749 h 656748"/>
                <a:gd name="connsiteX2" fmla="*/ 222313 w 694086"/>
                <a:gd name="connsiteY2" fmla="*/ 516636 h 656748"/>
                <a:gd name="connsiteX3" fmla="*/ 461105 w 694086"/>
                <a:gd name="connsiteY3" fmla="*/ 516636 h 656748"/>
                <a:gd name="connsiteX4" fmla="*/ 508254 w 694086"/>
                <a:gd name="connsiteY4" fmla="*/ 656749 h 656748"/>
                <a:gd name="connsiteX5" fmla="*/ 694087 w 694086"/>
                <a:gd name="connsiteY5" fmla="*/ 656749 h 656748"/>
                <a:gd name="connsiteX6" fmla="*/ 449199 w 694086"/>
                <a:gd name="connsiteY6" fmla="*/ 0 h 656748"/>
                <a:gd name="connsiteX7" fmla="*/ 241459 w 694086"/>
                <a:gd name="connsiteY7" fmla="*/ 0 h 656748"/>
                <a:gd name="connsiteX8" fmla="*/ 0 w 694086"/>
                <a:gd name="connsiteY8" fmla="*/ 656749 h 656748"/>
                <a:gd name="connsiteX9" fmla="*/ 434340 w 694086"/>
                <a:gd name="connsiteY9" fmla="*/ 392430 h 656748"/>
                <a:gd name="connsiteX10" fmla="*/ 269843 w 694086"/>
                <a:gd name="connsiteY10" fmla="*/ 392430 h 656748"/>
                <a:gd name="connsiteX11" fmla="*/ 354330 w 694086"/>
                <a:gd name="connsiteY11" fmla="*/ 135350 h 656748"/>
                <a:gd name="connsiteX12" fmla="*/ 356616 w 694086"/>
                <a:gd name="connsiteY12" fmla="*/ 135350 h 656748"/>
                <a:gd name="connsiteX13" fmla="*/ 434245 w 694086"/>
                <a:gd name="connsiteY13" fmla="*/ 392430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4086" h="656748">
                  <a:moveTo>
                    <a:pt x="0" y="656749"/>
                  </a:moveTo>
                  <a:lnTo>
                    <a:pt x="172117" y="656749"/>
                  </a:lnTo>
                  <a:lnTo>
                    <a:pt x="222313" y="516636"/>
                  </a:lnTo>
                  <a:lnTo>
                    <a:pt x="461105" y="516636"/>
                  </a:lnTo>
                  <a:lnTo>
                    <a:pt x="508254" y="656749"/>
                  </a:lnTo>
                  <a:lnTo>
                    <a:pt x="694087" y="656749"/>
                  </a:lnTo>
                  <a:lnTo>
                    <a:pt x="449199" y="0"/>
                  </a:lnTo>
                  <a:lnTo>
                    <a:pt x="241459" y="0"/>
                  </a:lnTo>
                  <a:lnTo>
                    <a:pt x="0" y="656749"/>
                  </a:lnTo>
                  <a:close/>
                  <a:moveTo>
                    <a:pt x="434340" y="392430"/>
                  </a:moveTo>
                  <a:lnTo>
                    <a:pt x="269843" y="392430"/>
                  </a:lnTo>
                  <a:lnTo>
                    <a:pt x="354330" y="135350"/>
                  </a:lnTo>
                  <a:lnTo>
                    <a:pt x="356616" y="135350"/>
                  </a:lnTo>
                  <a:lnTo>
                    <a:pt x="434245" y="39243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B4948A1C-3C3C-498E-8A4A-4792A1D4E498}"/>
                </a:ext>
              </a:extLst>
            </p:cNvPr>
            <p:cNvSpPr/>
            <p:nvPr/>
          </p:nvSpPr>
          <p:spPr>
            <a:xfrm>
              <a:off x="6645973" y="3090957"/>
              <a:ext cx="554164" cy="679323"/>
            </a:xfrm>
            <a:custGeom>
              <a:avLst/>
              <a:gdLst>
                <a:gd name="connsiteX0" fmla="*/ 546259 w 554164"/>
                <a:gd name="connsiteY0" fmla="*/ 515493 h 679323"/>
                <a:gd name="connsiteX1" fmla="*/ 387286 w 554164"/>
                <a:gd name="connsiteY1" fmla="*/ 549497 h 679323"/>
                <a:gd name="connsiteX2" fmla="*/ 234982 w 554164"/>
                <a:gd name="connsiteY2" fmla="*/ 493871 h 679323"/>
                <a:gd name="connsiteX3" fmla="*/ 174879 w 554164"/>
                <a:gd name="connsiteY3" fmla="*/ 342138 h 679323"/>
                <a:gd name="connsiteX4" fmla="*/ 229648 w 554164"/>
                <a:gd name="connsiteY4" fmla="*/ 189929 h 679323"/>
                <a:gd name="connsiteX5" fmla="*/ 373475 w 554164"/>
                <a:gd name="connsiteY5" fmla="*/ 129731 h 679323"/>
                <a:gd name="connsiteX6" fmla="*/ 539591 w 554164"/>
                <a:gd name="connsiteY6" fmla="*/ 175927 h 679323"/>
                <a:gd name="connsiteX7" fmla="*/ 553402 w 554164"/>
                <a:gd name="connsiteY7" fmla="*/ 34004 h 679323"/>
                <a:gd name="connsiteX8" fmla="*/ 364617 w 554164"/>
                <a:gd name="connsiteY8" fmla="*/ 0 h 679323"/>
                <a:gd name="connsiteX9" fmla="*/ 103727 w 554164"/>
                <a:gd name="connsiteY9" fmla="*/ 84487 h 679323"/>
                <a:gd name="connsiteX10" fmla="*/ 0 w 554164"/>
                <a:gd name="connsiteY10" fmla="*/ 342138 h 679323"/>
                <a:gd name="connsiteX11" fmla="*/ 119348 w 554164"/>
                <a:gd name="connsiteY11" fmla="*/ 603028 h 679323"/>
                <a:gd name="connsiteX12" fmla="*/ 237744 w 554164"/>
                <a:gd name="connsiteY12" fmla="*/ 660464 h 679323"/>
                <a:gd name="connsiteX13" fmla="*/ 365474 w 554164"/>
                <a:gd name="connsiteY13" fmla="*/ 679323 h 679323"/>
                <a:gd name="connsiteX14" fmla="*/ 475012 w 554164"/>
                <a:gd name="connsiteY14" fmla="*/ 669703 h 679323"/>
                <a:gd name="connsiteX15" fmla="*/ 554165 w 554164"/>
                <a:gd name="connsiteY15" fmla="*/ 652748 h 679323"/>
                <a:gd name="connsiteX16" fmla="*/ 546163 w 554164"/>
                <a:gd name="connsiteY16" fmla="*/ 515588 h 67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4164" h="679323">
                  <a:moveTo>
                    <a:pt x="546259" y="515493"/>
                  </a:moveTo>
                  <a:cubicBezTo>
                    <a:pt x="498158" y="537591"/>
                    <a:pt x="445199" y="548926"/>
                    <a:pt x="387286" y="549497"/>
                  </a:cubicBezTo>
                  <a:cubicBezTo>
                    <a:pt x="324041" y="549497"/>
                    <a:pt x="273272" y="530924"/>
                    <a:pt x="234982" y="493871"/>
                  </a:cubicBezTo>
                  <a:cubicBezTo>
                    <a:pt x="195548" y="457391"/>
                    <a:pt x="175450" y="406813"/>
                    <a:pt x="174879" y="342138"/>
                  </a:cubicBezTo>
                  <a:cubicBezTo>
                    <a:pt x="175450" y="279559"/>
                    <a:pt x="193738" y="228886"/>
                    <a:pt x="229648" y="189929"/>
                  </a:cubicBezTo>
                  <a:cubicBezTo>
                    <a:pt x="264985" y="150400"/>
                    <a:pt x="312896" y="130302"/>
                    <a:pt x="373475" y="129731"/>
                  </a:cubicBezTo>
                  <a:cubicBezTo>
                    <a:pt x="430720" y="129731"/>
                    <a:pt x="486156" y="145161"/>
                    <a:pt x="539591" y="175927"/>
                  </a:cubicBezTo>
                  <a:lnTo>
                    <a:pt x="553402" y="34004"/>
                  </a:lnTo>
                  <a:cubicBezTo>
                    <a:pt x="492538" y="12573"/>
                    <a:pt x="429577" y="1238"/>
                    <a:pt x="364617" y="0"/>
                  </a:cubicBezTo>
                  <a:cubicBezTo>
                    <a:pt x="257746" y="0"/>
                    <a:pt x="170878" y="28194"/>
                    <a:pt x="103727" y="84487"/>
                  </a:cubicBezTo>
                  <a:cubicBezTo>
                    <a:pt x="35719" y="141732"/>
                    <a:pt x="1143" y="227648"/>
                    <a:pt x="0" y="342138"/>
                  </a:cubicBezTo>
                  <a:cubicBezTo>
                    <a:pt x="2381" y="464630"/>
                    <a:pt x="42196" y="551593"/>
                    <a:pt x="119348" y="603028"/>
                  </a:cubicBezTo>
                  <a:cubicBezTo>
                    <a:pt x="155257" y="629317"/>
                    <a:pt x="194786" y="648462"/>
                    <a:pt x="237744" y="660464"/>
                  </a:cubicBezTo>
                  <a:cubicBezTo>
                    <a:pt x="280511" y="673037"/>
                    <a:pt x="323088" y="679323"/>
                    <a:pt x="365474" y="679323"/>
                  </a:cubicBezTo>
                  <a:cubicBezTo>
                    <a:pt x="408527" y="678751"/>
                    <a:pt x="445008" y="675513"/>
                    <a:pt x="475012" y="669703"/>
                  </a:cubicBezTo>
                  <a:cubicBezTo>
                    <a:pt x="504634" y="664845"/>
                    <a:pt x="531114" y="659225"/>
                    <a:pt x="554165" y="652748"/>
                  </a:cubicBezTo>
                  <a:lnTo>
                    <a:pt x="546163" y="5155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640C49C1-335B-01FA-0CBD-2C057D3E7A38}"/>
                </a:ext>
              </a:extLst>
            </p:cNvPr>
            <p:cNvSpPr/>
            <p:nvPr/>
          </p:nvSpPr>
          <p:spPr>
            <a:xfrm>
              <a:off x="7261669" y="3102196"/>
              <a:ext cx="458247" cy="656748"/>
            </a:xfrm>
            <a:custGeom>
              <a:avLst/>
              <a:gdLst>
                <a:gd name="connsiteX0" fmla="*/ 0 w 458247"/>
                <a:gd name="connsiteY0" fmla="*/ 656749 h 656748"/>
                <a:gd name="connsiteX1" fmla="*/ 458248 w 458247"/>
                <a:gd name="connsiteY1" fmla="*/ 656749 h 656748"/>
                <a:gd name="connsiteX2" fmla="*/ 458248 w 458247"/>
                <a:gd name="connsiteY2" fmla="*/ 532638 h 656748"/>
                <a:gd name="connsiteX3" fmla="*/ 169164 w 458247"/>
                <a:gd name="connsiteY3" fmla="*/ 532638 h 656748"/>
                <a:gd name="connsiteX4" fmla="*/ 169164 w 458247"/>
                <a:gd name="connsiteY4" fmla="*/ 383762 h 656748"/>
                <a:gd name="connsiteX5" fmla="*/ 432911 w 458247"/>
                <a:gd name="connsiteY5" fmla="*/ 383762 h 656748"/>
                <a:gd name="connsiteX6" fmla="*/ 432911 w 458247"/>
                <a:gd name="connsiteY6" fmla="*/ 259747 h 656748"/>
                <a:gd name="connsiteX7" fmla="*/ 169164 w 458247"/>
                <a:gd name="connsiteY7" fmla="*/ 259747 h 656748"/>
                <a:gd name="connsiteX8" fmla="*/ 169164 w 458247"/>
                <a:gd name="connsiteY8" fmla="*/ 124111 h 656748"/>
                <a:gd name="connsiteX9" fmla="*/ 448056 w 458247"/>
                <a:gd name="connsiteY9" fmla="*/ 124111 h 656748"/>
                <a:gd name="connsiteX10" fmla="*/ 448056 w 458247"/>
                <a:gd name="connsiteY10" fmla="*/ 0 h 656748"/>
                <a:gd name="connsiteX11" fmla="*/ 0 w 458247"/>
                <a:gd name="connsiteY11" fmla="*/ 0 h 656748"/>
                <a:gd name="connsiteX12" fmla="*/ 0 w 458247"/>
                <a:gd name="connsiteY12" fmla="*/ 656749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8247" h="656748">
                  <a:moveTo>
                    <a:pt x="0" y="656749"/>
                  </a:moveTo>
                  <a:lnTo>
                    <a:pt x="458248" y="656749"/>
                  </a:lnTo>
                  <a:lnTo>
                    <a:pt x="458248" y="532638"/>
                  </a:lnTo>
                  <a:lnTo>
                    <a:pt x="169164" y="532638"/>
                  </a:lnTo>
                  <a:lnTo>
                    <a:pt x="169164" y="383762"/>
                  </a:lnTo>
                  <a:lnTo>
                    <a:pt x="432911" y="383762"/>
                  </a:lnTo>
                  <a:lnTo>
                    <a:pt x="432911" y="259747"/>
                  </a:lnTo>
                  <a:lnTo>
                    <a:pt x="169164" y="259747"/>
                  </a:lnTo>
                  <a:lnTo>
                    <a:pt x="169164" y="124111"/>
                  </a:lnTo>
                  <a:lnTo>
                    <a:pt x="448056" y="124111"/>
                  </a:lnTo>
                  <a:lnTo>
                    <a:pt x="448056" y="0"/>
                  </a:lnTo>
                  <a:lnTo>
                    <a:pt x="0" y="0"/>
                  </a:lnTo>
                  <a:lnTo>
                    <a:pt x="0" y="65674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0838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2C24314-EF56-073C-2B4F-21EA3B617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9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C24314-EF56-073C-2B4F-21EA3B617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DAB7BED-3115-8FF2-5DD0-AD725E5614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252000" indent="-252000">
              <a:buFont typeface="+mj-lt"/>
              <a:buAutoNum type="arabicPeriod"/>
              <a:defRPr/>
            </a:lvl1pPr>
            <a:lvl2pPr marL="504000" indent="-252000">
              <a:buFont typeface="+mj-lt"/>
              <a:buAutoNum type="arabicPeriod"/>
              <a:defRPr/>
            </a:lvl2pPr>
            <a:lvl3pPr marL="756000" indent="-252000">
              <a:buFont typeface="+mj-lt"/>
              <a:buAutoNum type="arabicPeriod"/>
              <a:defRPr/>
            </a:lvl3pPr>
            <a:lvl4pPr marL="1008000" indent="-252000">
              <a:buFont typeface="+mj-lt"/>
              <a:buAutoNum type="arabicPeriod"/>
              <a:defRPr/>
            </a:lvl4pPr>
            <a:lvl5pPr marL="1260000" indent="-2520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14FFE75A-E015-06B1-96C4-07E63D2DBCF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37C713C-D897-F976-445A-501588F226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3CB67B-C716-37CF-35AE-562E67EDF7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9282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folie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26CE610-169D-D880-4CC1-892F013504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152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6CE610-169D-D880-4CC1-892F013504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F4CF31-E803-07F2-F80E-72A01A462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E00FC4D-2791-21FB-9A87-40B82ADF79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9CAA507-FE46-3B69-46DD-5BF174177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0055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_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2C24314-EF56-073C-2B4F-21EA3B617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84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C24314-EF56-073C-2B4F-21EA3B617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4964638-100E-3AB3-1A5A-534D3863B7A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976D96E-BF0B-E4A9-85F5-D448F49252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9A6BADC-1790-C50D-B84E-F688B8874F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4227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395D8A3-E7F2-F470-51C6-6E09A55A0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484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5D8A3-E7F2-F470-51C6-6E09A55A0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1052512"/>
            <a:ext cx="54356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B8F3E-4451-04E4-9793-2BB6EDCACE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8413" y="1052513"/>
            <a:ext cx="54356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F5074C2-B1F6-47C6-3D7F-ED0934FDA88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7D392D-1427-4382-F431-2AA74F1CB1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17530E8-D18C-650F-F40B-6C89CDADFD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554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 userDrawn="1">
          <p15:clr>
            <a:srgbClr val="FBAE40"/>
          </p15:clr>
        </p15:guide>
        <p15:guide id="2" pos="3999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742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_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395D8A3-E7F2-F470-51C6-6E09A55A0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2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5D8A3-E7F2-F470-51C6-6E09A55A0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1052512"/>
            <a:ext cx="34560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B8F3E-4451-04E4-9793-2BB6EDCACE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8000" y="1052513"/>
            <a:ext cx="34560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CD409DA-10F6-6187-F2B4-DF85598666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28013" y="1052513"/>
            <a:ext cx="3456000" cy="52562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CDE930E-8669-37ED-C03F-262C8E473B9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1C27B7-22CB-EE5C-48B4-8D06886491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E32CAD-63C4-18B2-983D-EB3A4311AC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583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29" userDrawn="1">
          <p15:clr>
            <a:srgbClr val="FBAE40"/>
          </p15:clr>
        </p15:guide>
        <p15:guide id="2" pos="5246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7423" userDrawn="1">
          <p15:clr>
            <a:srgbClr val="FBAE40"/>
          </p15:clr>
        </p15:guide>
        <p15:guide id="7" pos="2751" userDrawn="1">
          <p15:clr>
            <a:srgbClr val="FBAE40"/>
          </p15:clr>
        </p15:guide>
        <p15:guide id="8" pos="243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_zweispaltig_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B25E1B0-15AE-3720-9F0A-D92AF68DC1B3}"/>
              </a:ext>
            </a:extLst>
          </p:cNvPr>
          <p:cNvSpPr/>
          <p:nvPr userDrawn="1"/>
        </p:nvSpPr>
        <p:spPr>
          <a:xfrm>
            <a:off x="8046720" y="836613"/>
            <a:ext cx="4145279" cy="56530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bIns="72000" rtlCol="0" anchor="ctr"/>
          <a:lstStyle/>
          <a:p>
            <a:pPr algn="l">
              <a:buClr>
                <a:schemeClr val="bg1"/>
              </a:buClr>
            </a:pPr>
            <a:endParaRPr lang="de-DE" dirty="0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395D8A3-E7F2-F470-51C6-6E09A55A0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2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5D8A3-E7F2-F470-51C6-6E09A55A0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1052512"/>
            <a:ext cx="72000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CD409DA-10F6-6187-F2B4-DF85598666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28013" y="1052513"/>
            <a:ext cx="3456000" cy="52562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CDE930E-8669-37ED-C03F-262C8E473B9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1C27B7-22CB-EE5C-48B4-8D06886491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E32CAD-63C4-18B2-983D-EB3A4311AC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889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29" userDrawn="1">
          <p15:clr>
            <a:srgbClr val="FBAE40"/>
          </p15:clr>
        </p15:guide>
        <p15:guide id="2" pos="5246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7423" userDrawn="1">
          <p15:clr>
            <a:srgbClr val="FBAE40"/>
          </p15:clr>
        </p15:guide>
        <p15:guide id="7" pos="2751" userDrawn="1">
          <p15:clr>
            <a:srgbClr val="FBAE40"/>
          </p15:clr>
        </p15:guide>
        <p15:guide id="8" pos="24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140F1C1-050F-EDD0-8B37-2505C52E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46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40F1C1-050F-EDD0-8B37-2505C52E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365FB9-35A5-EE2C-30C6-37F755C4B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4A5B05-D8B7-F3B6-BDF9-A63E59BA2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1052514"/>
            <a:ext cx="5435600" cy="52562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EB15DE-FDF9-8975-189C-4ECEAFAFCF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2" y="836613"/>
            <a:ext cx="5843587" cy="5653088"/>
          </a:xfrm>
          <a:solidFill>
            <a:schemeClr val="bg2"/>
          </a:solidFill>
        </p:spPr>
        <p:txBody>
          <a:bodyPr tIns="72000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B986C03-D19A-93A2-639D-67A480DDF71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5A5AA4D-CE4F-64D1-04E3-B07A8EB75E4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B3BEB77-185D-6B1D-8FFC-EF625D9964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2363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 userDrawn="1">
          <p15:clr>
            <a:srgbClr val="FBAE40"/>
          </p15:clr>
        </p15:guide>
        <p15:guide id="2" pos="39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74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1C9996F-A44F-C25C-E441-CE43C35A5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35249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44" imgH="345" progId="TCLayout.ActiveDocument.1">
                  <p:embed/>
                </p:oleObj>
              </mc:Choice>
              <mc:Fallback>
                <p:oleObj name="think-cell Folie" r:id="rId19" imgW="344" imgH="34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C9996F-A44F-C25C-E441-CE43C35A52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>
            <a:extLst>
              <a:ext uri="{FF2B5EF4-FFF2-40B4-BE49-F238E27FC236}">
                <a16:creationId xmlns:a16="http://schemas.microsoft.com/office/drawing/2014/main" id="{9F773A1D-93A5-4617-C4D5-61374ECD9BD3}"/>
              </a:ext>
            </a:extLst>
          </p:cNvPr>
          <p:cNvSpPr>
            <a:spLocks/>
          </p:cNvSpPr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080BC70-43F8-76CE-22E0-218DDB6CBD79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7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BF73C49-07C5-F8CD-9DB6-3AB130099ED7}"/>
              </a:ext>
            </a:extLst>
          </p:cNvPr>
          <p:cNvSpPr>
            <a:spLocks noGrp="1"/>
          </p:cNvSpPr>
          <p:nvPr>
            <p:ph type="title"/>
          </p:nvPr>
        </p:nvSpPr>
        <p:spPr bwMode="ltGray">
          <a:xfrm>
            <a:off x="407988" y="239500"/>
            <a:ext cx="10080000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B646B5-BDDE-E2DA-16F0-66BE998F5F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052514"/>
            <a:ext cx="11376025" cy="52562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F6D1B3-400A-CFAE-F554-0B061289F2A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ltGray">
          <a:xfrm>
            <a:off x="4368000" y="6644750"/>
            <a:ext cx="3456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Name des Vortragend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7888B1-C3F1-5F44-2B9D-4985A25A12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07988" y="6644750"/>
            <a:ext cx="3456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l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/>
              <a:t>© dSPACE GmbH. All rights reserved | Confidential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0A163D-DDF3-2B92-9820-A3A5E40458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ltGray">
          <a:xfrm>
            <a:off x="8328013" y="6644750"/>
            <a:ext cx="3456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r">
              <a:buNone/>
              <a:defRPr sz="900">
                <a:solidFill>
                  <a:schemeClr val="bg1"/>
                </a:solidFill>
              </a:defRPr>
            </a:lvl1pPr>
          </a:lstStyle>
          <a:p>
            <a:fld id="{4C2A66A8-9A15-4066-AA5E-6DED98C1F8DF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D11BFE54-BC21-F26D-DAC3-BB6E8C71B1B2}"/>
              </a:ext>
            </a:extLst>
          </p:cNvPr>
          <p:cNvGrpSpPr>
            <a:grpSpLocks/>
          </p:cNvGrpSpPr>
          <p:nvPr userDrawn="1"/>
        </p:nvGrpSpPr>
        <p:grpSpPr>
          <a:xfrm>
            <a:off x="10693897" y="263814"/>
            <a:ext cx="1090116" cy="228371"/>
            <a:chOff x="4476750" y="3090862"/>
            <a:chExt cx="3243166" cy="679418"/>
          </a:xfrm>
          <a:solidFill>
            <a:schemeClr val="bg1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87E4109C-E691-5424-F91C-8CEC27102915}"/>
                </a:ext>
              </a:extLst>
            </p:cNvPr>
            <p:cNvSpPr/>
            <p:nvPr/>
          </p:nvSpPr>
          <p:spPr>
            <a:xfrm>
              <a:off x="4476750" y="3112007"/>
              <a:ext cx="488061" cy="657320"/>
            </a:xfrm>
            <a:custGeom>
              <a:avLst/>
              <a:gdLst>
                <a:gd name="connsiteX0" fmla="*/ 488061 w 488061"/>
                <a:gd name="connsiteY0" fmla="*/ 0 h 657320"/>
                <a:gd name="connsiteX1" fmla="*/ 337375 w 488061"/>
                <a:gd name="connsiteY1" fmla="*/ 0 h 657320"/>
                <a:gd name="connsiteX2" fmla="*/ 337375 w 488061"/>
                <a:gd name="connsiteY2" fmla="*/ 255270 h 657320"/>
                <a:gd name="connsiteX3" fmla="*/ 335756 w 488061"/>
                <a:gd name="connsiteY3" fmla="*/ 255270 h 657320"/>
                <a:gd name="connsiteX4" fmla="*/ 269748 w 488061"/>
                <a:gd name="connsiteY4" fmla="*/ 201073 h 657320"/>
                <a:gd name="connsiteX5" fmla="*/ 186214 w 488061"/>
                <a:gd name="connsiteY5" fmla="*/ 187166 h 657320"/>
                <a:gd name="connsiteX6" fmla="*/ 48578 w 488061"/>
                <a:gd name="connsiteY6" fmla="*/ 258699 h 657320"/>
                <a:gd name="connsiteX7" fmla="*/ 0 w 488061"/>
                <a:gd name="connsiteY7" fmla="*/ 414052 h 657320"/>
                <a:gd name="connsiteX8" fmla="*/ 51721 w 488061"/>
                <a:gd name="connsiteY8" fmla="*/ 584930 h 657320"/>
                <a:gd name="connsiteX9" fmla="*/ 198787 w 488061"/>
                <a:gd name="connsiteY9" fmla="*/ 657320 h 657320"/>
                <a:gd name="connsiteX10" fmla="*/ 292894 w 488061"/>
                <a:gd name="connsiteY10" fmla="*/ 630555 h 657320"/>
                <a:gd name="connsiteX11" fmla="*/ 347853 w 488061"/>
                <a:gd name="connsiteY11" fmla="*/ 566928 h 657320"/>
                <a:gd name="connsiteX12" fmla="*/ 349853 w 488061"/>
                <a:gd name="connsiteY12" fmla="*/ 566928 h 657320"/>
                <a:gd name="connsiteX13" fmla="*/ 349853 w 488061"/>
                <a:gd name="connsiteY13" fmla="*/ 646938 h 657320"/>
                <a:gd name="connsiteX14" fmla="*/ 487966 w 488061"/>
                <a:gd name="connsiteY14" fmla="*/ 646938 h 657320"/>
                <a:gd name="connsiteX15" fmla="*/ 487966 w 488061"/>
                <a:gd name="connsiteY15" fmla="*/ 0 h 657320"/>
                <a:gd name="connsiteX16" fmla="*/ 155067 w 488061"/>
                <a:gd name="connsiteY16" fmla="*/ 417386 h 657320"/>
                <a:gd name="connsiteX17" fmla="*/ 179546 w 488061"/>
                <a:gd name="connsiteY17" fmla="*/ 338995 h 657320"/>
                <a:gd name="connsiteX18" fmla="*/ 246412 w 488061"/>
                <a:gd name="connsiteY18" fmla="*/ 306134 h 657320"/>
                <a:gd name="connsiteX19" fmla="*/ 312896 w 488061"/>
                <a:gd name="connsiteY19" fmla="*/ 338995 h 657320"/>
                <a:gd name="connsiteX20" fmla="*/ 338138 w 488061"/>
                <a:gd name="connsiteY20" fmla="*/ 423672 h 657320"/>
                <a:gd name="connsiteX21" fmla="*/ 311277 w 488061"/>
                <a:gd name="connsiteY21" fmla="*/ 504539 h 657320"/>
                <a:gd name="connsiteX22" fmla="*/ 246507 w 488061"/>
                <a:gd name="connsiteY22" fmla="*/ 538258 h 657320"/>
                <a:gd name="connsiteX23" fmla="*/ 180499 w 488061"/>
                <a:gd name="connsiteY23" fmla="*/ 503682 h 657320"/>
                <a:gd name="connsiteX24" fmla="*/ 155258 w 488061"/>
                <a:gd name="connsiteY24" fmla="*/ 417290 h 65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8061" h="657320">
                  <a:moveTo>
                    <a:pt x="488061" y="0"/>
                  </a:moveTo>
                  <a:lnTo>
                    <a:pt x="337375" y="0"/>
                  </a:lnTo>
                  <a:lnTo>
                    <a:pt x="337375" y="255270"/>
                  </a:lnTo>
                  <a:lnTo>
                    <a:pt x="335756" y="255270"/>
                  </a:lnTo>
                  <a:cubicBezTo>
                    <a:pt x="316706" y="230029"/>
                    <a:pt x="294799" y="212027"/>
                    <a:pt x="269748" y="201073"/>
                  </a:cubicBezTo>
                  <a:cubicBezTo>
                    <a:pt x="244793" y="191834"/>
                    <a:pt x="216884" y="187166"/>
                    <a:pt x="186214" y="187166"/>
                  </a:cubicBezTo>
                  <a:cubicBezTo>
                    <a:pt x="126206" y="188595"/>
                    <a:pt x="80296" y="212408"/>
                    <a:pt x="48578" y="258699"/>
                  </a:cubicBezTo>
                  <a:cubicBezTo>
                    <a:pt x="16193" y="304133"/>
                    <a:pt x="0" y="355949"/>
                    <a:pt x="0" y="414052"/>
                  </a:cubicBezTo>
                  <a:cubicBezTo>
                    <a:pt x="0" y="481965"/>
                    <a:pt x="17240" y="538925"/>
                    <a:pt x="51721" y="584930"/>
                  </a:cubicBezTo>
                  <a:cubicBezTo>
                    <a:pt x="85153" y="631793"/>
                    <a:pt x="134112" y="655892"/>
                    <a:pt x="198787" y="657320"/>
                  </a:cubicBezTo>
                  <a:cubicBezTo>
                    <a:pt x="234315" y="656749"/>
                    <a:pt x="265748" y="647795"/>
                    <a:pt x="292894" y="630555"/>
                  </a:cubicBezTo>
                  <a:cubicBezTo>
                    <a:pt x="319754" y="613410"/>
                    <a:pt x="338138" y="592265"/>
                    <a:pt x="347853" y="566928"/>
                  </a:cubicBezTo>
                  <a:lnTo>
                    <a:pt x="349853" y="566928"/>
                  </a:lnTo>
                  <a:lnTo>
                    <a:pt x="349853" y="646938"/>
                  </a:lnTo>
                  <a:lnTo>
                    <a:pt x="487966" y="646938"/>
                  </a:lnTo>
                  <a:lnTo>
                    <a:pt x="487966" y="0"/>
                  </a:lnTo>
                  <a:close/>
                  <a:moveTo>
                    <a:pt x="155067" y="417386"/>
                  </a:moveTo>
                  <a:cubicBezTo>
                    <a:pt x="155067" y="386525"/>
                    <a:pt x="163163" y="360331"/>
                    <a:pt x="179546" y="338995"/>
                  </a:cubicBezTo>
                  <a:cubicBezTo>
                    <a:pt x="194501" y="317659"/>
                    <a:pt x="216789" y="306705"/>
                    <a:pt x="246412" y="306134"/>
                  </a:cubicBezTo>
                  <a:cubicBezTo>
                    <a:pt x="274701" y="306705"/>
                    <a:pt x="296799" y="317659"/>
                    <a:pt x="312896" y="338995"/>
                  </a:cubicBezTo>
                  <a:cubicBezTo>
                    <a:pt x="329184" y="360331"/>
                    <a:pt x="337566" y="388525"/>
                    <a:pt x="338138" y="423672"/>
                  </a:cubicBezTo>
                  <a:cubicBezTo>
                    <a:pt x="337566" y="456819"/>
                    <a:pt x="328613" y="483775"/>
                    <a:pt x="311277" y="504539"/>
                  </a:cubicBezTo>
                  <a:cubicBezTo>
                    <a:pt x="294132" y="526447"/>
                    <a:pt x="272510" y="537686"/>
                    <a:pt x="246507" y="538258"/>
                  </a:cubicBezTo>
                  <a:cubicBezTo>
                    <a:pt x="217932" y="538258"/>
                    <a:pt x="195929" y="526733"/>
                    <a:pt x="180499" y="503682"/>
                  </a:cubicBezTo>
                  <a:cubicBezTo>
                    <a:pt x="163640" y="482346"/>
                    <a:pt x="155258" y="453581"/>
                    <a:pt x="155258" y="4172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2F77992-0541-2F91-5571-3610F9D9CC43}"/>
                </a:ext>
              </a:extLst>
            </p:cNvPr>
            <p:cNvSpPr/>
            <p:nvPr/>
          </p:nvSpPr>
          <p:spPr>
            <a:xfrm>
              <a:off x="5019008" y="3090862"/>
              <a:ext cx="485298" cy="679344"/>
            </a:xfrm>
            <a:custGeom>
              <a:avLst/>
              <a:gdLst>
                <a:gd name="connsiteX0" fmla="*/ 6001 w 485298"/>
                <a:gd name="connsiteY0" fmla="*/ 650938 h 679344"/>
                <a:gd name="connsiteX1" fmla="*/ 199549 w 485298"/>
                <a:gd name="connsiteY1" fmla="*/ 679323 h 679344"/>
                <a:gd name="connsiteX2" fmla="*/ 397192 w 485298"/>
                <a:gd name="connsiteY2" fmla="*/ 633889 h 679344"/>
                <a:gd name="connsiteX3" fmla="*/ 485299 w 485298"/>
                <a:gd name="connsiteY3" fmla="*/ 462915 h 679344"/>
                <a:gd name="connsiteX4" fmla="*/ 472916 w 485298"/>
                <a:gd name="connsiteY4" fmla="*/ 386620 h 679344"/>
                <a:gd name="connsiteX5" fmla="*/ 437579 w 485298"/>
                <a:gd name="connsiteY5" fmla="*/ 334709 h 679344"/>
                <a:gd name="connsiteX6" fmla="*/ 388430 w 485298"/>
                <a:gd name="connsiteY6" fmla="*/ 299752 h 679344"/>
                <a:gd name="connsiteX7" fmla="*/ 330994 w 485298"/>
                <a:gd name="connsiteY7" fmla="*/ 277273 h 679344"/>
                <a:gd name="connsiteX8" fmla="*/ 275368 w 485298"/>
                <a:gd name="connsiteY8" fmla="*/ 259366 h 679344"/>
                <a:gd name="connsiteX9" fmla="*/ 224790 w 485298"/>
                <a:gd name="connsiteY9" fmla="*/ 243269 h 679344"/>
                <a:gd name="connsiteX10" fmla="*/ 188976 w 485298"/>
                <a:gd name="connsiteY10" fmla="*/ 222599 h 679344"/>
                <a:gd name="connsiteX11" fmla="*/ 174784 w 485298"/>
                <a:gd name="connsiteY11" fmla="*/ 190881 h 679344"/>
                <a:gd name="connsiteX12" fmla="*/ 218123 w 485298"/>
                <a:gd name="connsiteY12" fmla="*/ 138017 h 679344"/>
                <a:gd name="connsiteX13" fmla="*/ 256889 w 485298"/>
                <a:gd name="connsiteY13" fmla="*/ 130683 h 679344"/>
                <a:gd name="connsiteX14" fmla="*/ 292894 w 485298"/>
                <a:gd name="connsiteY14" fmla="*/ 129731 h 679344"/>
                <a:gd name="connsiteX15" fmla="*/ 439674 w 485298"/>
                <a:gd name="connsiteY15" fmla="*/ 159639 h 679344"/>
                <a:gd name="connsiteX16" fmla="*/ 450723 w 485298"/>
                <a:gd name="connsiteY16" fmla="*/ 24289 h 679344"/>
                <a:gd name="connsiteX17" fmla="*/ 283369 w 485298"/>
                <a:gd name="connsiteY17" fmla="*/ 0 h 679344"/>
                <a:gd name="connsiteX18" fmla="*/ 184690 w 485298"/>
                <a:gd name="connsiteY18" fmla="*/ 8287 h 679344"/>
                <a:gd name="connsiteX19" fmla="*/ 93250 w 485298"/>
                <a:gd name="connsiteY19" fmla="*/ 40481 h 679344"/>
                <a:gd name="connsiteX20" fmla="*/ 26860 w 485298"/>
                <a:gd name="connsiteY20" fmla="*/ 102489 h 679344"/>
                <a:gd name="connsiteX21" fmla="*/ 0 w 485298"/>
                <a:gd name="connsiteY21" fmla="*/ 201263 h 679344"/>
                <a:gd name="connsiteX22" fmla="*/ 50101 w 485298"/>
                <a:gd name="connsiteY22" fmla="*/ 328517 h 679344"/>
                <a:gd name="connsiteX23" fmla="*/ 100584 w 485298"/>
                <a:gd name="connsiteY23" fmla="*/ 362998 h 679344"/>
                <a:gd name="connsiteX24" fmla="*/ 156210 w 485298"/>
                <a:gd name="connsiteY24" fmla="*/ 386906 h 679344"/>
                <a:gd name="connsiteX25" fmla="*/ 213646 w 485298"/>
                <a:gd name="connsiteY25" fmla="*/ 404813 h 679344"/>
                <a:gd name="connsiteX26" fmla="*/ 262319 w 485298"/>
                <a:gd name="connsiteY26" fmla="*/ 422720 h 679344"/>
                <a:gd name="connsiteX27" fmla="*/ 298133 w 485298"/>
                <a:gd name="connsiteY27" fmla="*/ 447104 h 679344"/>
                <a:gd name="connsiteX28" fmla="*/ 310515 w 485298"/>
                <a:gd name="connsiteY28" fmla="*/ 485680 h 679344"/>
                <a:gd name="connsiteX29" fmla="*/ 277368 w 485298"/>
                <a:gd name="connsiteY29" fmla="*/ 537115 h 679344"/>
                <a:gd name="connsiteX30" fmla="*/ 201835 w 485298"/>
                <a:gd name="connsiteY30" fmla="*/ 549497 h 679344"/>
                <a:gd name="connsiteX31" fmla="*/ 20860 w 485298"/>
                <a:gd name="connsiteY31" fmla="*/ 506254 h 679344"/>
                <a:gd name="connsiteX32" fmla="*/ 6191 w 485298"/>
                <a:gd name="connsiteY32" fmla="*/ 650843 h 67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85298" h="679344">
                  <a:moveTo>
                    <a:pt x="6001" y="650938"/>
                  </a:moveTo>
                  <a:cubicBezTo>
                    <a:pt x="69342" y="669893"/>
                    <a:pt x="133826" y="679323"/>
                    <a:pt x="199549" y="679323"/>
                  </a:cubicBezTo>
                  <a:cubicBezTo>
                    <a:pt x="275273" y="679990"/>
                    <a:pt x="341090" y="664845"/>
                    <a:pt x="397192" y="633889"/>
                  </a:cubicBezTo>
                  <a:cubicBezTo>
                    <a:pt x="454152" y="602647"/>
                    <a:pt x="483489" y="545687"/>
                    <a:pt x="485299" y="462915"/>
                  </a:cubicBezTo>
                  <a:cubicBezTo>
                    <a:pt x="485299" y="432530"/>
                    <a:pt x="481203" y="407194"/>
                    <a:pt x="472916" y="386620"/>
                  </a:cubicBezTo>
                  <a:cubicBezTo>
                    <a:pt x="464344" y="365760"/>
                    <a:pt x="452533" y="348520"/>
                    <a:pt x="437579" y="334709"/>
                  </a:cubicBezTo>
                  <a:cubicBezTo>
                    <a:pt x="423196" y="320897"/>
                    <a:pt x="406813" y="309277"/>
                    <a:pt x="388430" y="299752"/>
                  </a:cubicBezTo>
                  <a:cubicBezTo>
                    <a:pt x="370427" y="290513"/>
                    <a:pt x="351187" y="283083"/>
                    <a:pt x="330994" y="277273"/>
                  </a:cubicBezTo>
                  <a:cubicBezTo>
                    <a:pt x="312325" y="271177"/>
                    <a:pt x="293751" y="265176"/>
                    <a:pt x="275368" y="259366"/>
                  </a:cubicBezTo>
                  <a:cubicBezTo>
                    <a:pt x="256699" y="253841"/>
                    <a:pt x="239840" y="248507"/>
                    <a:pt x="224790" y="243269"/>
                  </a:cubicBezTo>
                  <a:cubicBezTo>
                    <a:pt x="209740" y="237744"/>
                    <a:pt x="197834" y="230886"/>
                    <a:pt x="188976" y="222599"/>
                  </a:cubicBezTo>
                  <a:cubicBezTo>
                    <a:pt x="179451" y="214598"/>
                    <a:pt x="174784" y="204026"/>
                    <a:pt x="174784" y="190881"/>
                  </a:cubicBezTo>
                  <a:cubicBezTo>
                    <a:pt x="176022" y="162687"/>
                    <a:pt x="190500" y="145066"/>
                    <a:pt x="218123" y="138017"/>
                  </a:cubicBezTo>
                  <a:cubicBezTo>
                    <a:pt x="230696" y="134303"/>
                    <a:pt x="243650" y="131921"/>
                    <a:pt x="256889" y="130683"/>
                  </a:cubicBezTo>
                  <a:cubicBezTo>
                    <a:pt x="270129" y="130112"/>
                    <a:pt x="282131" y="129731"/>
                    <a:pt x="292894" y="129731"/>
                  </a:cubicBezTo>
                  <a:cubicBezTo>
                    <a:pt x="343948" y="129731"/>
                    <a:pt x="392906" y="139732"/>
                    <a:pt x="439674" y="159639"/>
                  </a:cubicBezTo>
                  <a:lnTo>
                    <a:pt x="450723" y="24289"/>
                  </a:lnTo>
                  <a:cubicBezTo>
                    <a:pt x="404336" y="8668"/>
                    <a:pt x="348520" y="572"/>
                    <a:pt x="283369" y="0"/>
                  </a:cubicBezTo>
                  <a:cubicBezTo>
                    <a:pt x="250317" y="0"/>
                    <a:pt x="217456" y="2762"/>
                    <a:pt x="184690" y="8287"/>
                  </a:cubicBezTo>
                  <a:cubicBezTo>
                    <a:pt x="151638" y="14764"/>
                    <a:pt x="121158" y="25432"/>
                    <a:pt x="93250" y="40481"/>
                  </a:cubicBezTo>
                  <a:cubicBezTo>
                    <a:pt x="66008" y="55531"/>
                    <a:pt x="43815" y="76200"/>
                    <a:pt x="26860" y="102489"/>
                  </a:cubicBezTo>
                  <a:cubicBezTo>
                    <a:pt x="8953" y="128873"/>
                    <a:pt x="0" y="161735"/>
                    <a:pt x="0" y="201263"/>
                  </a:cubicBezTo>
                  <a:cubicBezTo>
                    <a:pt x="572" y="259175"/>
                    <a:pt x="17240" y="301562"/>
                    <a:pt x="50101" y="328517"/>
                  </a:cubicBezTo>
                  <a:cubicBezTo>
                    <a:pt x="65151" y="342329"/>
                    <a:pt x="81915" y="353759"/>
                    <a:pt x="100584" y="362998"/>
                  </a:cubicBezTo>
                  <a:cubicBezTo>
                    <a:pt x="118967" y="372523"/>
                    <a:pt x="137446" y="380429"/>
                    <a:pt x="156210" y="386906"/>
                  </a:cubicBezTo>
                  <a:cubicBezTo>
                    <a:pt x="176403" y="393001"/>
                    <a:pt x="195548" y="399002"/>
                    <a:pt x="213646" y="404813"/>
                  </a:cubicBezTo>
                  <a:cubicBezTo>
                    <a:pt x="231648" y="410337"/>
                    <a:pt x="247936" y="416243"/>
                    <a:pt x="262319" y="422720"/>
                  </a:cubicBezTo>
                  <a:cubicBezTo>
                    <a:pt x="277654" y="428816"/>
                    <a:pt x="289560" y="436912"/>
                    <a:pt x="298133" y="447104"/>
                  </a:cubicBezTo>
                  <a:cubicBezTo>
                    <a:pt x="306419" y="457200"/>
                    <a:pt x="310515" y="470059"/>
                    <a:pt x="310515" y="485680"/>
                  </a:cubicBezTo>
                  <a:cubicBezTo>
                    <a:pt x="309944" y="511397"/>
                    <a:pt x="298894" y="528542"/>
                    <a:pt x="277368" y="537115"/>
                  </a:cubicBezTo>
                  <a:cubicBezTo>
                    <a:pt x="256794" y="545973"/>
                    <a:pt x="231648" y="550164"/>
                    <a:pt x="201835" y="549497"/>
                  </a:cubicBezTo>
                  <a:cubicBezTo>
                    <a:pt x="127825" y="548259"/>
                    <a:pt x="67532" y="533876"/>
                    <a:pt x="20860" y="506254"/>
                  </a:cubicBezTo>
                  <a:lnTo>
                    <a:pt x="6191" y="65084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373721D-D844-8820-56C0-D7F7FD81542B}"/>
                </a:ext>
              </a:extLst>
            </p:cNvPr>
            <p:cNvSpPr/>
            <p:nvPr/>
          </p:nvSpPr>
          <p:spPr>
            <a:xfrm>
              <a:off x="5557932" y="3102193"/>
              <a:ext cx="497779" cy="656752"/>
            </a:xfrm>
            <a:custGeom>
              <a:avLst/>
              <a:gdLst>
                <a:gd name="connsiteX0" fmla="*/ 0 w 497779"/>
                <a:gd name="connsiteY0" fmla="*/ 656752 h 656752"/>
                <a:gd name="connsiteX1" fmla="*/ 169354 w 497779"/>
                <a:gd name="connsiteY1" fmla="*/ 656752 h 656752"/>
                <a:gd name="connsiteX2" fmla="*/ 169354 w 497779"/>
                <a:gd name="connsiteY2" fmla="*/ 427104 h 656752"/>
                <a:gd name="connsiteX3" fmla="*/ 236982 w 497779"/>
                <a:gd name="connsiteY3" fmla="*/ 427104 h 656752"/>
                <a:gd name="connsiteX4" fmla="*/ 497777 w 497779"/>
                <a:gd name="connsiteY4" fmla="*/ 215649 h 656752"/>
                <a:gd name="connsiteX5" fmla="*/ 206407 w 497779"/>
                <a:gd name="connsiteY5" fmla="*/ 3 h 656752"/>
                <a:gd name="connsiteX6" fmla="*/ 0 w 497779"/>
                <a:gd name="connsiteY6" fmla="*/ 3 h 656752"/>
                <a:gd name="connsiteX7" fmla="*/ 0 w 497779"/>
                <a:gd name="connsiteY7" fmla="*/ 656752 h 656752"/>
                <a:gd name="connsiteX8" fmla="*/ 169354 w 497779"/>
                <a:gd name="connsiteY8" fmla="*/ 124114 h 656752"/>
                <a:gd name="connsiteX9" fmla="*/ 216218 w 497779"/>
                <a:gd name="connsiteY9" fmla="*/ 124114 h 656752"/>
                <a:gd name="connsiteX10" fmla="*/ 296513 w 497779"/>
                <a:gd name="connsiteY10" fmla="*/ 142021 h 656752"/>
                <a:gd name="connsiteX11" fmla="*/ 328517 w 497779"/>
                <a:gd name="connsiteY11" fmla="*/ 212411 h 656752"/>
                <a:gd name="connsiteX12" fmla="*/ 296513 w 497779"/>
                <a:gd name="connsiteY12" fmla="*/ 283277 h 656752"/>
                <a:gd name="connsiteX13" fmla="*/ 216218 w 497779"/>
                <a:gd name="connsiteY13" fmla="*/ 302994 h 656752"/>
                <a:gd name="connsiteX14" fmla="*/ 169354 w 497779"/>
                <a:gd name="connsiteY14" fmla="*/ 302994 h 656752"/>
                <a:gd name="connsiteX15" fmla="*/ 169354 w 497779"/>
                <a:gd name="connsiteY15" fmla="*/ 124114 h 6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7779" h="656752">
                  <a:moveTo>
                    <a:pt x="0" y="656752"/>
                  </a:moveTo>
                  <a:lnTo>
                    <a:pt x="169354" y="656752"/>
                  </a:lnTo>
                  <a:lnTo>
                    <a:pt x="169354" y="427104"/>
                  </a:lnTo>
                  <a:lnTo>
                    <a:pt x="236982" y="427104"/>
                  </a:lnTo>
                  <a:cubicBezTo>
                    <a:pt x="408432" y="425295"/>
                    <a:pt x="495300" y="354810"/>
                    <a:pt x="497777" y="215649"/>
                  </a:cubicBezTo>
                  <a:cubicBezTo>
                    <a:pt x="498443" y="71346"/>
                    <a:pt x="401288" y="-568"/>
                    <a:pt x="206407" y="3"/>
                  </a:cubicBezTo>
                  <a:lnTo>
                    <a:pt x="0" y="3"/>
                  </a:lnTo>
                  <a:lnTo>
                    <a:pt x="0" y="656752"/>
                  </a:lnTo>
                  <a:close/>
                  <a:moveTo>
                    <a:pt x="169354" y="124114"/>
                  </a:moveTo>
                  <a:lnTo>
                    <a:pt x="216218" y="124114"/>
                  </a:lnTo>
                  <a:cubicBezTo>
                    <a:pt x="248126" y="124114"/>
                    <a:pt x="274891" y="130115"/>
                    <a:pt x="296513" y="142021"/>
                  </a:cubicBezTo>
                  <a:cubicBezTo>
                    <a:pt x="317182" y="155832"/>
                    <a:pt x="327946" y="179264"/>
                    <a:pt x="328517" y="212411"/>
                  </a:cubicBezTo>
                  <a:cubicBezTo>
                    <a:pt x="327946" y="245844"/>
                    <a:pt x="317182" y="269466"/>
                    <a:pt x="296513" y="283277"/>
                  </a:cubicBezTo>
                  <a:cubicBezTo>
                    <a:pt x="274891" y="297088"/>
                    <a:pt x="248126" y="303660"/>
                    <a:pt x="216218" y="302994"/>
                  </a:cubicBezTo>
                  <a:lnTo>
                    <a:pt x="169354" y="302994"/>
                  </a:lnTo>
                  <a:lnTo>
                    <a:pt x="169354" y="12411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58538914-0CB8-253D-BF9B-6484F3033090}"/>
                </a:ext>
              </a:extLst>
            </p:cNvPr>
            <p:cNvSpPr/>
            <p:nvPr/>
          </p:nvSpPr>
          <p:spPr>
            <a:xfrm>
              <a:off x="5982652" y="3102196"/>
              <a:ext cx="694086" cy="656748"/>
            </a:xfrm>
            <a:custGeom>
              <a:avLst/>
              <a:gdLst>
                <a:gd name="connsiteX0" fmla="*/ 0 w 694086"/>
                <a:gd name="connsiteY0" fmla="*/ 656749 h 656748"/>
                <a:gd name="connsiteX1" fmla="*/ 172117 w 694086"/>
                <a:gd name="connsiteY1" fmla="*/ 656749 h 656748"/>
                <a:gd name="connsiteX2" fmla="*/ 222313 w 694086"/>
                <a:gd name="connsiteY2" fmla="*/ 516636 h 656748"/>
                <a:gd name="connsiteX3" fmla="*/ 461105 w 694086"/>
                <a:gd name="connsiteY3" fmla="*/ 516636 h 656748"/>
                <a:gd name="connsiteX4" fmla="*/ 508254 w 694086"/>
                <a:gd name="connsiteY4" fmla="*/ 656749 h 656748"/>
                <a:gd name="connsiteX5" fmla="*/ 694087 w 694086"/>
                <a:gd name="connsiteY5" fmla="*/ 656749 h 656748"/>
                <a:gd name="connsiteX6" fmla="*/ 449199 w 694086"/>
                <a:gd name="connsiteY6" fmla="*/ 0 h 656748"/>
                <a:gd name="connsiteX7" fmla="*/ 241459 w 694086"/>
                <a:gd name="connsiteY7" fmla="*/ 0 h 656748"/>
                <a:gd name="connsiteX8" fmla="*/ 0 w 694086"/>
                <a:gd name="connsiteY8" fmla="*/ 656749 h 656748"/>
                <a:gd name="connsiteX9" fmla="*/ 434340 w 694086"/>
                <a:gd name="connsiteY9" fmla="*/ 392430 h 656748"/>
                <a:gd name="connsiteX10" fmla="*/ 269843 w 694086"/>
                <a:gd name="connsiteY10" fmla="*/ 392430 h 656748"/>
                <a:gd name="connsiteX11" fmla="*/ 354330 w 694086"/>
                <a:gd name="connsiteY11" fmla="*/ 135350 h 656748"/>
                <a:gd name="connsiteX12" fmla="*/ 356616 w 694086"/>
                <a:gd name="connsiteY12" fmla="*/ 135350 h 656748"/>
                <a:gd name="connsiteX13" fmla="*/ 434245 w 694086"/>
                <a:gd name="connsiteY13" fmla="*/ 392430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4086" h="656748">
                  <a:moveTo>
                    <a:pt x="0" y="656749"/>
                  </a:moveTo>
                  <a:lnTo>
                    <a:pt x="172117" y="656749"/>
                  </a:lnTo>
                  <a:lnTo>
                    <a:pt x="222313" y="516636"/>
                  </a:lnTo>
                  <a:lnTo>
                    <a:pt x="461105" y="516636"/>
                  </a:lnTo>
                  <a:lnTo>
                    <a:pt x="508254" y="656749"/>
                  </a:lnTo>
                  <a:lnTo>
                    <a:pt x="694087" y="656749"/>
                  </a:lnTo>
                  <a:lnTo>
                    <a:pt x="449199" y="0"/>
                  </a:lnTo>
                  <a:lnTo>
                    <a:pt x="241459" y="0"/>
                  </a:lnTo>
                  <a:lnTo>
                    <a:pt x="0" y="656749"/>
                  </a:lnTo>
                  <a:close/>
                  <a:moveTo>
                    <a:pt x="434340" y="392430"/>
                  </a:moveTo>
                  <a:lnTo>
                    <a:pt x="269843" y="392430"/>
                  </a:lnTo>
                  <a:lnTo>
                    <a:pt x="354330" y="135350"/>
                  </a:lnTo>
                  <a:lnTo>
                    <a:pt x="356616" y="135350"/>
                  </a:lnTo>
                  <a:lnTo>
                    <a:pt x="434245" y="39243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CE36BB6F-350D-77F3-966B-F4AFAD354B34}"/>
                </a:ext>
              </a:extLst>
            </p:cNvPr>
            <p:cNvSpPr/>
            <p:nvPr/>
          </p:nvSpPr>
          <p:spPr>
            <a:xfrm>
              <a:off x="6645973" y="3090957"/>
              <a:ext cx="554164" cy="679323"/>
            </a:xfrm>
            <a:custGeom>
              <a:avLst/>
              <a:gdLst>
                <a:gd name="connsiteX0" fmla="*/ 546259 w 554164"/>
                <a:gd name="connsiteY0" fmla="*/ 515493 h 679323"/>
                <a:gd name="connsiteX1" fmla="*/ 387286 w 554164"/>
                <a:gd name="connsiteY1" fmla="*/ 549497 h 679323"/>
                <a:gd name="connsiteX2" fmla="*/ 234982 w 554164"/>
                <a:gd name="connsiteY2" fmla="*/ 493871 h 679323"/>
                <a:gd name="connsiteX3" fmla="*/ 174879 w 554164"/>
                <a:gd name="connsiteY3" fmla="*/ 342138 h 679323"/>
                <a:gd name="connsiteX4" fmla="*/ 229648 w 554164"/>
                <a:gd name="connsiteY4" fmla="*/ 189929 h 679323"/>
                <a:gd name="connsiteX5" fmla="*/ 373475 w 554164"/>
                <a:gd name="connsiteY5" fmla="*/ 129731 h 679323"/>
                <a:gd name="connsiteX6" fmla="*/ 539591 w 554164"/>
                <a:gd name="connsiteY6" fmla="*/ 175927 h 679323"/>
                <a:gd name="connsiteX7" fmla="*/ 553402 w 554164"/>
                <a:gd name="connsiteY7" fmla="*/ 34004 h 679323"/>
                <a:gd name="connsiteX8" fmla="*/ 364617 w 554164"/>
                <a:gd name="connsiteY8" fmla="*/ 0 h 679323"/>
                <a:gd name="connsiteX9" fmla="*/ 103727 w 554164"/>
                <a:gd name="connsiteY9" fmla="*/ 84487 h 679323"/>
                <a:gd name="connsiteX10" fmla="*/ 0 w 554164"/>
                <a:gd name="connsiteY10" fmla="*/ 342138 h 679323"/>
                <a:gd name="connsiteX11" fmla="*/ 119348 w 554164"/>
                <a:gd name="connsiteY11" fmla="*/ 603028 h 679323"/>
                <a:gd name="connsiteX12" fmla="*/ 237744 w 554164"/>
                <a:gd name="connsiteY12" fmla="*/ 660464 h 679323"/>
                <a:gd name="connsiteX13" fmla="*/ 365474 w 554164"/>
                <a:gd name="connsiteY13" fmla="*/ 679323 h 679323"/>
                <a:gd name="connsiteX14" fmla="*/ 475012 w 554164"/>
                <a:gd name="connsiteY14" fmla="*/ 669703 h 679323"/>
                <a:gd name="connsiteX15" fmla="*/ 554165 w 554164"/>
                <a:gd name="connsiteY15" fmla="*/ 652748 h 679323"/>
                <a:gd name="connsiteX16" fmla="*/ 546163 w 554164"/>
                <a:gd name="connsiteY16" fmla="*/ 515588 h 67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4164" h="679323">
                  <a:moveTo>
                    <a:pt x="546259" y="515493"/>
                  </a:moveTo>
                  <a:cubicBezTo>
                    <a:pt x="498158" y="537591"/>
                    <a:pt x="445199" y="548926"/>
                    <a:pt x="387286" y="549497"/>
                  </a:cubicBezTo>
                  <a:cubicBezTo>
                    <a:pt x="324041" y="549497"/>
                    <a:pt x="273272" y="530924"/>
                    <a:pt x="234982" y="493871"/>
                  </a:cubicBezTo>
                  <a:cubicBezTo>
                    <a:pt x="195548" y="457391"/>
                    <a:pt x="175450" y="406813"/>
                    <a:pt x="174879" y="342138"/>
                  </a:cubicBezTo>
                  <a:cubicBezTo>
                    <a:pt x="175450" y="279559"/>
                    <a:pt x="193738" y="228886"/>
                    <a:pt x="229648" y="189929"/>
                  </a:cubicBezTo>
                  <a:cubicBezTo>
                    <a:pt x="264985" y="150400"/>
                    <a:pt x="312896" y="130302"/>
                    <a:pt x="373475" y="129731"/>
                  </a:cubicBezTo>
                  <a:cubicBezTo>
                    <a:pt x="430720" y="129731"/>
                    <a:pt x="486156" y="145161"/>
                    <a:pt x="539591" y="175927"/>
                  </a:cubicBezTo>
                  <a:lnTo>
                    <a:pt x="553402" y="34004"/>
                  </a:lnTo>
                  <a:cubicBezTo>
                    <a:pt x="492538" y="12573"/>
                    <a:pt x="429577" y="1238"/>
                    <a:pt x="364617" y="0"/>
                  </a:cubicBezTo>
                  <a:cubicBezTo>
                    <a:pt x="257746" y="0"/>
                    <a:pt x="170878" y="28194"/>
                    <a:pt x="103727" y="84487"/>
                  </a:cubicBezTo>
                  <a:cubicBezTo>
                    <a:pt x="35719" y="141732"/>
                    <a:pt x="1143" y="227648"/>
                    <a:pt x="0" y="342138"/>
                  </a:cubicBezTo>
                  <a:cubicBezTo>
                    <a:pt x="2381" y="464630"/>
                    <a:pt x="42196" y="551593"/>
                    <a:pt x="119348" y="603028"/>
                  </a:cubicBezTo>
                  <a:cubicBezTo>
                    <a:pt x="155257" y="629317"/>
                    <a:pt x="194786" y="648462"/>
                    <a:pt x="237744" y="660464"/>
                  </a:cubicBezTo>
                  <a:cubicBezTo>
                    <a:pt x="280511" y="673037"/>
                    <a:pt x="323088" y="679323"/>
                    <a:pt x="365474" y="679323"/>
                  </a:cubicBezTo>
                  <a:cubicBezTo>
                    <a:pt x="408527" y="678751"/>
                    <a:pt x="445008" y="675513"/>
                    <a:pt x="475012" y="669703"/>
                  </a:cubicBezTo>
                  <a:cubicBezTo>
                    <a:pt x="504634" y="664845"/>
                    <a:pt x="531114" y="659225"/>
                    <a:pt x="554165" y="652748"/>
                  </a:cubicBezTo>
                  <a:lnTo>
                    <a:pt x="546163" y="5155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198B385E-923A-DC49-29E1-9101495669B4}"/>
                </a:ext>
              </a:extLst>
            </p:cNvPr>
            <p:cNvSpPr/>
            <p:nvPr/>
          </p:nvSpPr>
          <p:spPr>
            <a:xfrm>
              <a:off x="7261669" y="3102196"/>
              <a:ext cx="458247" cy="656748"/>
            </a:xfrm>
            <a:custGeom>
              <a:avLst/>
              <a:gdLst>
                <a:gd name="connsiteX0" fmla="*/ 0 w 458247"/>
                <a:gd name="connsiteY0" fmla="*/ 656749 h 656748"/>
                <a:gd name="connsiteX1" fmla="*/ 458248 w 458247"/>
                <a:gd name="connsiteY1" fmla="*/ 656749 h 656748"/>
                <a:gd name="connsiteX2" fmla="*/ 458248 w 458247"/>
                <a:gd name="connsiteY2" fmla="*/ 532638 h 656748"/>
                <a:gd name="connsiteX3" fmla="*/ 169164 w 458247"/>
                <a:gd name="connsiteY3" fmla="*/ 532638 h 656748"/>
                <a:gd name="connsiteX4" fmla="*/ 169164 w 458247"/>
                <a:gd name="connsiteY4" fmla="*/ 383762 h 656748"/>
                <a:gd name="connsiteX5" fmla="*/ 432911 w 458247"/>
                <a:gd name="connsiteY5" fmla="*/ 383762 h 656748"/>
                <a:gd name="connsiteX6" fmla="*/ 432911 w 458247"/>
                <a:gd name="connsiteY6" fmla="*/ 259747 h 656748"/>
                <a:gd name="connsiteX7" fmla="*/ 169164 w 458247"/>
                <a:gd name="connsiteY7" fmla="*/ 259747 h 656748"/>
                <a:gd name="connsiteX8" fmla="*/ 169164 w 458247"/>
                <a:gd name="connsiteY8" fmla="*/ 124111 h 656748"/>
                <a:gd name="connsiteX9" fmla="*/ 448056 w 458247"/>
                <a:gd name="connsiteY9" fmla="*/ 124111 h 656748"/>
                <a:gd name="connsiteX10" fmla="*/ 448056 w 458247"/>
                <a:gd name="connsiteY10" fmla="*/ 0 h 656748"/>
                <a:gd name="connsiteX11" fmla="*/ 0 w 458247"/>
                <a:gd name="connsiteY11" fmla="*/ 0 h 656748"/>
                <a:gd name="connsiteX12" fmla="*/ 0 w 458247"/>
                <a:gd name="connsiteY12" fmla="*/ 656749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8247" h="656748">
                  <a:moveTo>
                    <a:pt x="0" y="656749"/>
                  </a:moveTo>
                  <a:lnTo>
                    <a:pt x="458248" y="656749"/>
                  </a:lnTo>
                  <a:lnTo>
                    <a:pt x="458248" y="532638"/>
                  </a:lnTo>
                  <a:lnTo>
                    <a:pt x="169164" y="532638"/>
                  </a:lnTo>
                  <a:lnTo>
                    <a:pt x="169164" y="383762"/>
                  </a:lnTo>
                  <a:lnTo>
                    <a:pt x="432911" y="383762"/>
                  </a:lnTo>
                  <a:lnTo>
                    <a:pt x="432911" y="259747"/>
                  </a:lnTo>
                  <a:lnTo>
                    <a:pt x="169164" y="259747"/>
                  </a:lnTo>
                  <a:lnTo>
                    <a:pt x="169164" y="124111"/>
                  </a:lnTo>
                  <a:lnTo>
                    <a:pt x="448056" y="124111"/>
                  </a:lnTo>
                  <a:lnTo>
                    <a:pt x="448056" y="0"/>
                  </a:lnTo>
                  <a:lnTo>
                    <a:pt x="0" y="0"/>
                  </a:lnTo>
                  <a:lnTo>
                    <a:pt x="0" y="65674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41787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0" r:id="rId4"/>
    <p:sldLayoutId id="2147483651" r:id="rId5"/>
    <p:sldLayoutId id="2147483652" r:id="rId6"/>
    <p:sldLayoutId id="2147483658" r:id="rId7"/>
    <p:sldLayoutId id="2147483665" r:id="rId8"/>
    <p:sldLayoutId id="2147483653" r:id="rId9"/>
    <p:sldLayoutId id="2147483654" r:id="rId10"/>
    <p:sldLayoutId id="2147483659" r:id="rId11"/>
    <p:sldLayoutId id="2147483660" r:id="rId12"/>
    <p:sldLayoutId id="2147483655" r:id="rId13"/>
    <p:sldLayoutId id="2147483664" r:id="rId14"/>
    <p:sldLayoutId id="2147483663" r:id="rId15"/>
    <p:sldLayoutId id="2147483662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spc="1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jpeg"/><Relationship Id="rId4" Type="http://schemas.openxmlformats.org/officeDocument/2006/relationships/image" Target="../media/image10.png"/><Relationship Id="rId9" Type="http://schemas.openxmlformats.org/officeDocument/2006/relationships/image" Target="../media/image15.jpeg"/><Relationship Id="rId14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E683A162-0262-7300-6F00-39E4837917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81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83A162-0262-7300-6F00-39E4837917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 descr="A blue car and airplane in the sky&#10;&#10;Description automatically generated">
            <a:extLst>
              <a:ext uri="{FF2B5EF4-FFF2-40B4-BE49-F238E27FC236}">
                <a16:creationId xmlns:a16="http://schemas.microsoft.com/office/drawing/2014/main" id="{1D7221B9-DDA0-5C78-9661-05CCA7547C4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t="44" b="44"/>
          <a:stretch>
            <a:fillRect/>
          </a:stretch>
        </p:blipFill>
        <p:spPr>
          <a:xfrm>
            <a:off x="0" y="1"/>
            <a:ext cx="12192001" cy="6857999"/>
          </a:xfr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B62E7C21-F8C2-38D7-FC84-AC8C9E65DB5F}"/>
              </a:ext>
            </a:extLst>
          </p:cNvPr>
          <p:cNvSpPr/>
          <p:nvPr/>
        </p:nvSpPr>
        <p:spPr>
          <a:xfrm>
            <a:off x="0" y="3802743"/>
            <a:ext cx="12192001" cy="3055257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2">
                  <a:alpha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bIns="72000" rtlCol="0" anchor="ctr"/>
          <a:lstStyle/>
          <a:p>
            <a:pPr algn="l">
              <a:buClr>
                <a:schemeClr val="bg1"/>
              </a:buClr>
            </a:pPr>
            <a:endParaRPr lang="en-US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AD48CBA-4A3A-A51A-E6FA-A08A6BE8E25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349364" y="5720643"/>
            <a:ext cx="2149692" cy="450344"/>
            <a:chOff x="4476750" y="3090862"/>
            <a:chExt cx="3243166" cy="679418"/>
          </a:xfrm>
          <a:solidFill>
            <a:schemeClr val="bg1"/>
          </a:solidFill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8371FE2E-621E-9C01-8704-21F36B14B92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476750" y="3112007"/>
              <a:ext cx="488061" cy="657320"/>
            </a:xfrm>
            <a:custGeom>
              <a:avLst/>
              <a:gdLst>
                <a:gd name="connsiteX0" fmla="*/ 488061 w 488061"/>
                <a:gd name="connsiteY0" fmla="*/ 0 h 657320"/>
                <a:gd name="connsiteX1" fmla="*/ 337375 w 488061"/>
                <a:gd name="connsiteY1" fmla="*/ 0 h 657320"/>
                <a:gd name="connsiteX2" fmla="*/ 337375 w 488061"/>
                <a:gd name="connsiteY2" fmla="*/ 255270 h 657320"/>
                <a:gd name="connsiteX3" fmla="*/ 335756 w 488061"/>
                <a:gd name="connsiteY3" fmla="*/ 255270 h 657320"/>
                <a:gd name="connsiteX4" fmla="*/ 269748 w 488061"/>
                <a:gd name="connsiteY4" fmla="*/ 201073 h 657320"/>
                <a:gd name="connsiteX5" fmla="*/ 186214 w 488061"/>
                <a:gd name="connsiteY5" fmla="*/ 187166 h 657320"/>
                <a:gd name="connsiteX6" fmla="*/ 48578 w 488061"/>
                <a:gd name="connsiteY6" fmla="*/ 258699 h 657320"/>
                <a:gd name="connsiteX7" fmla="*/ 0 w 488061"/>
                <a:gd name="connsiteY7" fmla="*/ 414052 h 657320"/>
                <a:gd name="connsiteX8" fmla="*/ 51721 w 488061"/>
                <a:gd name="connsiteY8" fmla="*/ 584930 h 657320"/>
                <a:gd name="connsiteX9" fmla="*/ 198787 w 488061"/>
                <a:gd name="connsiteY9" fmla="*/ 657320 h 657320"/>
                <a:gd name="connsiteX10" fmla="*/ 292894 w 488061"/>
                <a:gd name="connsiteY10" fmla="*/ 630555 h 657320"/>
                <a:gd name="connsiteX11" fmla="*/ 347853 w 488061"/>
                <a:gd name="connsiteY11" fmla="*/ 566928 h 657320"/>
                <a:gd name="connsiteX12" fmla="*/ 349853 w 488061"/>
                <a:gd name="connsiteY12" fmla="*/ 566928 h 657320"/>
                <a:gd name="connsiteX13" fmla="*/ 349853 w 488061"/>
                <a:gd name="connsiteY13" fmla="*/ 646938 h 657320"/>
                <a:gd name="connsiteX14" fmla="*/ 487966 w 488061"/>
                <a:gd name="connsiteY14" fmla="*/ 646938 h 657320"/>
                <a:gd name="connsiteX15" fmla="*/ 487966 w 488061"/>
                <a:gd name="connsiteY15" fmla="*/ 0 h 657320"/>
                <a:gd name="connsiteX16" fmla="*/ 155067 w 488061"/>
                <a:gd name="connsiteY16" fmla="*/ 417386 h 657320"/>
                <a:gd name="connsiteX17" fmla="*/ 179546 w 488061"/>
                <a:gd name="connsiteY17" fmla="*/ 338995 h 657320"/>
                <a:gd name="connsiteX18" fmla="*/ 246412 w 488061"/>
                <a:gd name="connsiteY18" fmla="*/ 306134 h 657320"/>
                <a:gd name="connsiteX19" fmla="*/ 312896 w 488061"/>
                <a:gd name="connsiteY19" fmla="*/ 338995 h 657320"/>
                <a:gd name="connsiteX20" fmla="*/ 338138 w 488061"/>
                <a:gd name="connsiteY20" fmla="*/ 423672 h 657320"/>
                <a:gd name="connsiteX21" fmla="*/ 311277 w 488061"/>
                <a:gd name="connsiteY21" fmla="*/ 504539 h 657320"/>
                <a:gd name="connsiteX22" fmla="*/ 246507 w 488061"/>
                <a:gd name="connsiteY22" fmla="*/ 538258 h 657320"/>
                <a:gd name="connsiteX23" fmla="*/ 180499 w 488061"/>
                <a:gd name="connsiteY23" fmla="*/ 503682 h 657320"/>
                <a:gd name="connsiteX24" fmla="*/ 155258 w 488061"/>
                <a:gd name="connsiteY24" fmla="*/ 417290 h 657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8061" h="657320">
                  <a:moveTo>
                    <a:pt x="488061" y="0"/>
                  </a:moveTo>
                  <a:lnTo>
                    <a:pt x="337375" y="0"/>
                  </a:lnTo>
                  <a:lnTo>
                    <a:pt x="337375" y="255270"/>
                  </a:lnTo>
                  <a:lnTo>
                    <a:pt x="335756" y="255270"/>
                  </a:lnTo>
                  <a:cubicBezTo>
                    <a:pt x="316706" y="230029"/>
                    <a:pt x="294799" y="212027"/>
                    <a:pt x="269748" y="201073"/>
                  </a:cubicBezTo>
                  <a:cubicBezTo>
                    <a:pt x="244793" y="191834"/>
                    <a:pt x="216884" y="187166"/>
                    <a:pt x="186214" y="187166"/>
                  </a:cubicBezTo>
                  <a:cubicBezTo>
                    <a:pt x="126206" y="188595"/>
                    <a:pt x="80296" y="212408"/>
                    <a:pt x="48578" y="258699"/>
                  </a:cubicBezTo>
                  <a:cubicBezTo>
                    <a:pt x="16193" y="304133"/>
                    <a:pt x="0" y="355949"/>
                    <a:pt x="0" y="414052"/>
                  </a:cubicBezTo>
                  <a:cubicBezTo>
                    <a:pt x="0" y="481965"/>
                    <a:pt x="17240" y="538925"/>
                    <a:pt x="51721" y="584930"/>
                  </a:cubicBezTo>
                  <a:cubicBezTo>
                    <a:pt x="85153" y="631793"/>
                    <a:pt x="134112" y="655892"/>
                    <a:pt x="198787" y="657320"/>
                  </a:cubicBezTo>
                  <a:cubicBezTo>
                    <a:pt x="234315" y="656749"/>
                    <a:pt x="265748" y="647795"/>
                    <a:pt x="292894" y="630555"/>
                  </a:cubicBezTo>
                  <a:cubicBezTo>
                    <a:pt x="319754" y="613410"/>
                    <a:pt x="338138" y="592265"/>
                    <a:pt x="347853" y="566928"/>
                  </a:cubicBezTo>
                  <a:lnTo>
                    <a:pt x="349853" y="566928"/>
                  </a:lnTo>
                  <a:lnTo>
                    <a:pt x="349853" y="646938"/>
                  </a:lnTo>
                  <a:lnTo>
                    <a:pt x="487966" y="646938"/>
                  </a:lnTo>
                  <a:lnTo>
                    <a:pt x="487966" y="0"/>
                  </a:lnTo>
                  <a:close/>
                  <a:moveTo>
                    <a:pt x="155067" y="417386"/>
                  </a:moveTo>
                  <a:cubicBezTo>
                    <a:pt x="155067" y="386525"/>
                    <a:pt x="163163" y="360331"/>
                    <a:pt x="179546" y="338995"/>
                  </a:cubicBezTo>
                  <a:cubicBezTo>
                    <a:pt x="194501" y="317659"/>
                    <a:pt x="216789" y="306705"/>
                    <a:pt x="246412" y="306134"/>
                  </a:cubicBezTo>
                  <a:cubicBezTo>
                    <a:pt x="274701" y="306705"/>
                    <a:pt x="296799" y="317659"/>
                    <a:pt x="312896" y="338995"/>
                  </a:cubicBezTo>
                  <a:cubicBezTo>
                    <a:pt x="329184" y="360331"/>
                    <a:pt x="337566" y="388525"/>
                    <a:pt x="338138" y="423672"/>
                  </a:cubicBezTo>
                  <a:cubicBezTo>
                    <a:pt x="337566" y="456819"/>
                    <a:pt x="328613" y="483775"/>
                    <a:pt x="311277" y="504539"/>
                  </a:cubicBezTo>
                  <a:cubicBezTo>
                    <a:pt x="294132" y="526447"/>
                    <a:pt x="272510" y="537686"/>
                    <a:pt x="246507" y="538258"/>
                  </a:cubicBezTo>
                  <a:cubicBezTo>
                    <a:pt x="217932" y="538258"/>
                    <a:pt x="195929" y="526733"/>
                    <a:pt x="180499" y="503682"/>
                  </a:cubicBezTo>
                  <a:cubicBezTo>
                    <a:pt x="163640" y="482346"/>
                    <a:pt x="155258" y="453581"/>
                    <a:pt x="155258" y="41729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0FDF96F1-B4E4-3E01-F166-D49259C81A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019008" y="3090862"/>
              <a:ext cx="485298" cy="679344"/>
            </a:xfrm>
            <a:custGeom>
              <a:avLst/>
              <a:gdLst>
                <a:gd name="connsiteX0" fmla="*/ 6001 w 485298"/>
                <a:gd name="connsiteY0" fmla="*/ 650938 h 679344"/>
                <a:gd name="connsiteX1" fmla="*/ 199549 w 485298"/>
                <a:gd name="connsiteY1" fmla="*/ 679323 h 679344"/>
                <a:gd name="connsiteX2" fmla="*/ 397192 w 485298"/>
                <a:gd name="connsiteY2" fmla="*/ 633889 h 679344"/>
                <a:gd name="connsiteX3" fmla="*/ 485299 w 485298"/>
                <a:gd name="connsiteY3" fmla="*/ 462915 h 679344"/>
                <a:gd name="connsiteX4" fmla="*/ 472916 w 485298"/>
                <a:gd name="connsiteY4" fmla="*/ 386620 h 679344"/>
                <a:gd name="connsiteX5" fmla="*/ 437579 w 485298"/>
                <a:gd name="connsiteY5" fmla="*/ 334709 h 679344"/>
                <a:gd name="connsiteX6" fmla="*/ 388430 w 485298"/>
                <a:gd name="connsiteY6" fmla="*/ 299752 h 679344"/>
                <a:gd name="connsiteX7" fmla="*/ 330994 w 485298"/>
                <a:gd name="connsiteY7" fmla="*/ 277273 h 679344"/>
                <a:gd name="connsiteX8" fmla="*/ 275368 w 485298"/>
                <a:gd name="connsiteY8" fmla="*/ 259366 h 679344"/>
                <a:gd name="connsiteX9" fmla="*/ 224790 w 485298"/>
                <a:gd name="connsiteY9" fmla="*/ 243269 h 679344"/>
                <a:gd name="connsiteX10" fmla="*/ 188976 w 485298"/>
                <a:gd name="connsiteY10" fmla="*/ 222599 h 679344"/>
                <a:gd name="connsiteX11" fmla="*/ 174784 w 485298"/>
                <a:gd name="connsiteY11" fmla="*/ 190881 h 679344"/>
                <a:gd name="connsiteX12" fmla="*/ 218123 w 485298"/>
                <a:gd name="connsiteY12" fmla="*/ 138017 h 679344"/>
                <a:gd name="connsiteX13" fmla="*/ 256889 w 485298"/>
                <a:gd name="connsiteY13" fmla="*/ 130683 h 679344"/>
                <a:gd name="connsiteX14" fmla="*/ 292894 w 485298"/>
                <a:gd name="connsiteY14" fmla="*/ 129731 h 679344"/>
                <a:gd name="connsiteX15" fmla="*/ 439674 w 485298"/>
                <a:gd name="connsiteY15" fmla="*/ 159639 h 679344"/>
                <a:gd name="connsiteX16" fmla="*/ 450723 w 485298"/>
                <a:gd name="connsiteY16" fmla="*/ 24289 h 679344"/>
                <a:gd name="connsiteX17" fmla="*/ 283369 w 485298"/>
                <a:gd name="connsiteY17" fmla="*/ 0 h 679344"/>
                <a:gd name="connsiteX18" fmla="*/ 184690 w 485298"/>
                <a:gd name="connsiteY18" fmla="*/ 8287 h 679344"/>
                <a:gd name="connsiteX19" fmla="*/ 93250 w 485298"/>
                <a:gd name="connsiteY19" fmla="*/ 40481 h 679344"/>
                <a:gd name="connsiteX20" fmla="*/ 26860 w 485298"/>
                <a:gd name="connsiteY20" fmla="*/ 102489 h 679344"/>
                <a:gd name="connsiteX21" fmla="*/ 0 w 485298"/>
                <a:gd name="connsiteY21" fmla="*/ 201263 h 679344"/>
                <a:gd name="connsiteX22" fmla="*/ 50101 w 485298"/>
                <a:gd name="connsiteY22" fmla="*/ 328517 h 679344"/>
                <a:gd name="connsiteX23" fmla="*/ 100584 w 485298"/>
                <a:gd name="connsiteY23" fmla="*/ 362998 h 679344"/>
                <a:gd name="connsiteX24" fmla="*/ 156210 w 485298"/>
                <a:gd name="connsiteY24" fmla="*/ 386906 h 679344"/>
                <a:gd name="connsiteX25" fmla="*/ 213646 w 485298"/>
                <a:gd name="connsiteY25" fmla="*/ 404813 h 679344"/>
                <a:gd name="connsiteX26" fmla="*/ 262319 w 485298"/>
                <a:gd name="connsiteY26" fmla="*/ 422720 h 679344"/>
                <a:gd name="connsiteX27" fmla="*/ 298133 w 485298"/>
                <a:gd name="connsiteY27" fmla="*/ 447104 h 679344"/>
                <a:gd name="connsiteX28" fmla="*/ 310515 w 485298"/>
                <a:gd name="connsiteY28" fmla="*/ 485680 h 679344"/>
                <a:gd name="connsiteX29" fmla="*/ 277368 w 485298"/>
                <a:gd name="connsiteY29" fmla="*/ 537115 h 679344"/>
                <a:gd name="connsiteX30" fmla="*/ 201835 w 485298"/>
                <a:gd name="connsiteY30" fmla="*/ 549497 h 679344"/>
                <a:gd name="connsiteX31" fmla="*/ 20860 w 485298"/>
                <a:gd name="connsiteY31" fmla="*/ 506254 h 679344"/>
                <a:gd name="connsiteX32" fmla="*/ 6191 w 485298"/>
                <a:gd name="connsiteY32" fmla="*/ 650843 h 67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85298" h="679344">
                  <a:moveTo>
                    <a:pt x="6001" y="650938"/>
                  </a:moveTo>
                  <a:cubicBezTo>
                    <a:pt x="69342" y="669893"/>
                    <a:pt x="133826" y="679323"/>
                    <a:pt x="199549" y="679323"/>
                  </a:cubicBezTo>
                  <a:cubicBezTo>
                    <a:pt x="275273" y="679990"/>
                    <a:pt x="341090" y="664845"/>
                    <a:pt x="397192" y="633889"/>
                  </a:cubicBezTo>
                  <a:cubicBezTo>
                    <a:pt x="454152" y="602647"/>
                    <a:pt x="483489" y="545687"/>
                    <a:pt x="485299" y="462915"/>
                  </a:cubicBezTo>
                  <a:cubicBezTo>
                    <a:pt x="485299" y="432530"/>
                    <a:pt x="481203" y="407194"/>
                    <a:pt x="472916" y="386620"/>
                  </a:cubicBezTo>
                  <a:cubicBezTo>
                    <a:pt x="464344" y="365760"/>
                    <a:pt x="452533" y="348520"/>
                    <a:pt x="437579" y="334709"/>
                  </a:cubicBezTo>
                  <a:cubicBezTo>
                    <a:pt x="423196" y="320897"/>
                    <a:pt x="406813" y="309277"/>
                    <a:pt x="388430" y="299752"/>
                  </a:cubicBezTo>
                  <a:cubicBezTo>
                    <a:pt x="370427" y="290513"/>
                    <a:pt x="351187" y="283083"/>
                    <a:pt x="330994" y="277273"/>
                  </a:cubicBezTo>
                  <a:cubicBezTo>
                    <a:pt x="312325" y="271177"/>
                    <a:pt x="293751" y="265176"/>
                    <a:pt x="275368" y="259366"/>
                  </a:cubicBezTo>
                  <a:cubicBezTo>
                    <a:pt x="256699" y="253841"/>
                    <a:pt x="239840" y="248507"/>
                    <a:pt x="224790" y="243269"/>
                  </a:cubicBezTo>
                  <a:cubicBezTo>
                    <a:pt x="209740" y="237744"/>
                    <a:pt x="197834" y="230886"/>
                    <a:pt x="188976" y="222599"/>
                  </a:cubicBezTo>
                  <a:cubicBezTo>
                    <a:pt x="179451" y="214598"/>
                    <a:pt x="174784" y="204026"/>
                    <a:pt x="174784" y="190881"/>
                  </a:cubicBezTo>
                  <a:cubicBezTo>
                    <a:pt x="176022" y="162687"/>
                    <a:pt x="190500" y="145066"/>
                    <a:pt x="218123" y="138017"/>
                  </a:cubicBezTo>
                  <a:cubicBezTo>
                    <a:pt x="230696" y="134303"/>
                    <a:pt x="243650" y="131921"/>
                    <a:pt x="256889" y="130683"/>
                  </a:cubicBezTo>
                  <a:cubicBezTo>
                    <a:pt x="270129" y="130112"/>
                    <a:pt x="282131" y="129731"/>
                    <a:pt x="292894" y="129731"/>
                  </a:cubicBezTo>
                  <a:cubicBezTo>
                    <a:pt x="343948" y="129731"/>
                    <a:pt x="392906" y="139732"/>
                    <a:pt x="439674" y="159639"/>
                  </a:cubicBezTo>
                  <a:lnTo>
                    <a:pt x="450723" y="24289"/>
                  </a:lnTo>
                  <a:cubicBezTo>
                    <a:pt x="404336" y="8668"/>
                    <a:pt x="348520" y="572"/>
                    <a:pt x="283369" y="0"/>
                  </a:cubicBezTo>
                  <a:cubicBezTo>
                    <a:pt x="250317" y="0"/>
                    <a:pt x="217456" y="2762"/>
                    <a:pt x="184690" y="8287"/>
                  </a:cubicBezTo>
                  <a:cubicBezTo>
                    <a:pt x="151638" y="14764"/>
                    <a:pt x="121158" y="25432"/>
                    <a:pt x="93250" y="40481"/>
                  </a:cubicBezTo>
                  <a:cubicBezTo>
                    <a:pt x="66008" y="55531"/>
                    <a:pt x="43815" y="76200"/>
                    <a:pt x="26860" y="102489"/>
                  </a:cubicBezTo>
                  <a:cubicBezTo>
                    <a:pt x="8953" y="128873"/>
                    <a:pt x="0" y="161735"/>
                    <a:pt x="0" y="201263"/>
                  </a:cubicBezTo>
                  <a:cubicBezTo>
                    <a:pt x="572" y="259175"/>
                    <a:pt x="17240" y="301562"/>
                    <a:pt x="50101" y="328517"/>
                  </a:cubicBezTo>
                  <a:cubicBezTo>
                    <a:pt x="65151" y="342329"/>
                    <a:pt x="81915" y="353759"/>
                    <a:pt x="100584" y="362998"/>
                  </a:cubicBezTo>
                  <a:cubicBezTo>
                    <a:pt x="118967" y="372523"/>
                    <a:pt x="137446" y="380429"/>
                    <a:pt x="156210" y="386906"/>
                  </a:cubicBezTo>
                  <a:cubicBezTo>
                    <a:pt x="176403" y="393001"/>
                    <a:pt x="195548" y="399002"/>
                    <a:pt x="213646" y="404813"/>
                  </a:cubicBezTo>
                  <a:cubicBezTo>
                    <a:pt x="231648" y="410337"/>
                    <a:pt x="247936" y="416243"/>
                    <a:pt x="262319" y="422720"/>
                  </a:cubicBezTo>
                  <a:cubicBezTo>
                    <a:pt x="277654" y="428816"/>
                    <a:pt x="289560" y="436912"/>
                    <a:pt x="298133" y="447104"/>
                  </a:cubicBezTo>
                  <a:cubicBezTo>
                    <a:pt x="306419" y="457200"/>
                    <a:pt x="310515" y="470059"/>
                    <a:pt x="310515" y="485680"/>
                  </a:cubicBezTo>
                  <a:cubicBezTo>
                    <a:pt x="309944" y="511397"/>
                    <a:pt x="298894" y="528542"/>
                    <a:pt x="277368" y="537115"/>
                  </a:cubicBezTo>
                  <a:cubicBezTo>
                    <a:pt x="256794" y="545973"/>
                    <a:pt x="231648" y="550164"/>
                    <a:pt x="201835" y="549497"/>
                  </a:cubicBezTo>
                  <a:cubicBezTo>
                    <a:pt x="127825" y="548259"/>
                    <a:pt x="67532" y="533876"/>
                    <a:pt x="20860" y="506254"/>
                  </a:cubicBezTo>
                  <a:lnTo>
                    <a:pt x="6191" y="650843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C7D23E60-7B3E-A5BC-A651-DC9E57AF318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557932" y="3102193"/>
              <a:ext cx="497779" cy="656752"/>
            </a:xfrm>
            <a:custGeom>
              <a:avLst/>
              <a:gdLst>
                <a:gd name="connsiteX0" fmla="*/ 0 w 497779"/>
                <a:gd name="connsiteY0" fmla="*/ 656752 h 656752"/>
                <a:gd name="connsiteX1" fmla="*/ 169354 w 497779"/>
                <a:gd name="connsiteY1" fmla="*/ 656752 h 656752"/>
                <a:gd name="connsiteX2" fmla="*/ 169354 w 497779"/>
                <a:gd name="connsiteY2" fmla="*/ 427104 h 656752"/>
                <a:gd name="connsiteX3" fmla="*/ 236982 w 497779"/>
                <a:gd name="connsiteY3" fmla="*/ 427104 h 656752"/>
                <a:gd name="connsiteX4" fmla="*/ 497777 w 497779"/>
                <a:gd name="connsiteY4" fmla="*/ 215649 h 656752"/>
                <a:gd name="connsiteX5" fmla="*/ 206407 w 497779"/>
                <a:gd name="connsiteY5" fmla="*/ 3 h 656752"/>
                <a:gd name="connsiteX6" fmla="*/ 0 w 497779"/>
                <a:gd name="connsiteY6" fmla="*/ 3 h 656752"/>
                <a:gd name="connsiteX7" fmla="*/ 0 w 497779"/>
                <a:gd name="connsiteY7" fmla="*/ 656752 h 656752"/>
                <a:gd name="connsiteX8" fmla="*/ 169354 w 497779"/>
                <a:gd name="connsiteY8" fmla="*/ 124114 h 656752"/>
                <a:gd name="connsiteX9" fmla="*/ 216218 w 497779"/>
                <a:gd name="connsiteY9" fmla="*/ 124114 h 656752"/>
                <a:gd name="connsiteX10" fmla="*/ 296513 w 497779"/>
                <a:gd name="connsiteY10" fmla="*/ 142021 h 656752"/>
                <a:gd name="connsiteX11" fmla="*/ 328517 w 497779"/>
                <a:gd name="connsiteY11" fmla="*/ 212411 h 656752"/>
                <a:gd name="connsiteX12" fmla="*/ 296513 w 497779"/>
                <a:gd name="connsiteY12" fmla="*/ 283277 h 656752"/>
                <a:gd name="connsiteX13" fmla="*/ 216218 w 497779"/>
                <a:gd name="connsiteY13" fmla="*/ 302994 h 656752"/>
                <a:gd name="connsiteX14" fmla="*/ 169354 w 497779"/>
                <a:gd name="connsiteY14" fmla="*/ 302994 h 656752"/>
                <a:gd name="connsiteX15" fmla="*/ 169354 w 497779"/>
                <a:gd name="connsiteY15" fmla="*/ 124114 h 65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7779" h="656752">
                  <a:moveTo>
                    <a:pt x="0" y="656752"/>
                  </a:moveTo>
                  <a:lnTo>
                    <a:pt x="169354" y="656752"/>
                  </a:lnTo>
                  <a:lnTo>
                    <a:pt x="169354" y="427104"/>
                  </a:lnTo>
                  <a:lnTo>
                    <a:pt x="236982" y="427104"/>
                  </a:lnTo>
                  <a:cubicBezTo>
                    <a:pt x="408432" y="425295"/>
                    <a:pt x="495300" y="354810"/>
                    <a:pt x="497777" y="215649"/>
                  </a:cubicBezTo>
                  <a:cubicBezTo>
                    <a:pt x="498443" y="71346"/>
                    <a:pt x="401288" y="-568"/>
                    <a:pt x="206407" y="3"/>
                  </a:cubicBezTo>
                  <a:lnTo>
                    <a:pt x="0" y="3"/>
                  </a:lnTo>
                  <a:lnTo>
                    <a:pt x="0" y="656752"/>
                  </a:lnTo>
                  <a:close/>
                  <a:moveTo>
                    <a:pt x="169354" y="124114"/>
                  </a:moveTo>
                  <a:lnTo>
                    <a:pt x="216218" y="124114"/>
                  </a:lnTo>
                  <a:cubicBezTo>
                    <a:pt x="248126" y="124114"/>
                    <a:pt x="274891" y="130115"/>
                    <a:pt x="296513" y="142021"/>
                  </a:cubicBezTo>
                  <a:cubicBezTo>
                    <a:pt x="317182" y="155832"/>
                    <a:pt x="327946" y="179264"/>
                    <a:pt x="328517" y="212411"/>
                  </a:cubicBezTo>
                  <a:cubicBezTo>
                    <a:pt x="327946" y="245844"/>
                    <a:pt x="317182" y="269466"/>
                    <a:pt x="296513" y="283277"/>
                  </a:cubicBezTo>
                  <a:cubicBezTo>
                    <a:pt x="274891" y="297088"/>
                    <a:pt x="248126" y="303660"/>
                    <a:pt x="216218" y="302994"/>
                  </a:cubicBezTo>
                  <a:lnTo>
                    <a:pt x="169354" y="302994"/>
                  </a:lnTo>
                  <a:lnTo>
                    <a:pt x="169354" y="124114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C8890BF4-B6BE-A275-98AE-CFA94B1282B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982652" y="3102196"/>
              <a:ext cx="694086" cy="656748"/>
            </a:xfrm>
            <a:custGeom>
              <a:avLst/>
              <a:gdLst>
                <a:gd name="connsiteX0" fmla="*/ 0 w 694086"/>
                <a:gd name="connsiteY0" fmla="*/ 656749 h 656748"/>
                <a:gd name="connsiteX1" fmla="*/ 172117 w 694086"/>
                <a:gd name="connsiteY1" fmla="*/ 656749 h 656748"/>
                <a:gd name="connsiteX2" fmla="*/ 222313 w 694086"/>
                <a:gd name="connsiteY2" fmla="*/ 516636 h 656748"/>
                <a:gd name="connsiteX3" fmla="*/ 461105 w 694086"/>
                <a:gd name="connsiteY3" fmla="*/ 516636 h 656748"/>
                <a:gd name="connsiteX4" fmla="*/ 508254 w 694086"/>
                <a:gd name="connsiteY4" fmla="*/ 656749 h 656748"/>
                <a:gd name="connsiteX5" fmla="*/ 694087 w 694086"/>
                <a:gd name="connsiteY5" fmla="*/ 656749 h 656748"/>
                <a:gd name="connsiteX6" fmla="*/ 449199 w 694086"/>
                <a:gd name="connsiteY6" fmla="*/ 0 h 656748"/>
                <a:gd name="connsiteX7" fmla="*/ 241459 w 694086"/>
                <a:gd name="connsiteY7" fmla="*/ 0 h 656748"/>
                <a:gd name="connsiteX8" fmla="*/ 0 w 694086"/>
                <a:gd name="connsiteY8" fmla="*/ 656749 h 656748"/>
                <a:gd name="connsiteX9" fmla="*/ 434340 w 694086"/>
                <a:gd name="connsiteY9" fmla="*/ 392430 h 656748"/>
                <a:gd name="connsiteX10" fmla="*/ 269843 w 694086"/>
                <a:gd name="connsiteY10" fmla="*/ 392430 h 656748"/>
                <a:gd name="connsiteX11" fmla="*/ 354330 w 694086"/>
                <a:gd name="connsiteY11" fmla="*/ 135350 h 656748"/>
                <a:gd name="connsiteX12" fmla="*/ 356616 w 694086"/>
                <a:gd name="connsiteY12" fmla="*/ 135350 h 656748"/>
                <a:gd name="connsiteX13" fmla="*/ 434245 w 694086"/>
                <a:gd name="connsiteY13" fmla="*/ 392430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94086" h="656748">
                  <a:moveTo>
                    <a:pt x="0" y="656749"/>
                  </a:moveTo>
                  <a:lnTo>
                    <a:pt x="172117" y="656749"/>
                  </a:lnTo>
                  <a:lnTo>
                    <a:pt x="222313" y="516636"/>
                  </a:lnTo>
                  <a:lnTo>
                    <a:pt x="461105" y="516636"/>
                  </a:lnTo>
                  <a:lnTo>
                    <a:pt x="508254" y="656749"/>
                  </a:lnTo>
                  <a:lnTo>
                    <a:pt x="694087" y="656749"/>
                  </a:lnTo>
                  <a:lnTo>
                    <a:pt x="449199" y="0"/>
                  </a:lnTo>
                  <a:lnTo>
                    <a:pt x="241459" y="0"/>
                  </a:lnTo>
                  <a:lnTo>
                    <a:pt x="0" y="656749"/>
                  </a:lnTo>
                  <a:close/>
                  <a:moveTo>
                    <a:pt x="434340" y="392430"/>
                  </a:moveTo>
                  <a:lnTo>
                    <a:pt x="269843" y="392430"/>
                  </a:lnTo>
                  <a:lnTo>
                    <a:pt x="354330" y="135350"/>
                  </a:lnTo>
                  <a:lnTo>
                    <a:pt x="356616" y="135350"/>
                  </a:lnTo>
                  <a:lnTo>
                    <a:pt x="434245" y="392430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0D8C82FB-4C2A-56E3-CF77-629BA0AAC36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645973" y="3090957"/>
              <a:ext cx="554164" cy="679323"/>
            </a:xfrm>
            <a:custGeom>
              <a:avLst/>
              <a:gdLst>
                <a:gd name="connsiteX0" fmla="*/ 546259 w 554164"/>
                <a:gd name="connsiteY0" fmla="*/ 515493 h 679323"/>
                <a:gd name="connsiteX1" fmla="*/ 387286 w 554164"/>
                <a:gd name="connsiteY1" fmla="*/ 549497 h 679323"/>
                <a:gd name="connsiteX2" fmla="*/ 234982 w 554164"/>
                <a:gd name="connsiteY2" fmla="*/ 493871 h 679323"/>
                <a:gd name="connsiteX3" fmla="*/ 174879 w 554164"/>
                <a:gd name="connsiteY3" fmla="*/ 342138 h 679323"/>
                <a:gd name="connsiteX4" fmla="*/ 229648 w 554164"/>
                <a:gd name="connsiteY4" fmla="*/ 189929 h 679323"/>
                <a:gd name="connsiteX5" fmla="*/ 373475 w 554164"/>
                <a:gd name="connsiteY5" fmla="*/ 129731 h 679323"/>
                <a:gd name="connsiteX6" fmla="*/ 539591 w 554164"/>
                <a:gd name="connsiteY6" fmla="*/ 175927 h 679323"/>
                <a:gd name="connsiteX7" fmla="*/ 553402 w 554164"/>
                <a:gd name="connsiteY7" fmla="*/ 34004 h 679323"/>
                <a:gd name="connsiteX8" fmla="*/ 364617 w 554164"/>
                <a:gd name="connsiteY8" fmla="*/ 0 h 679323"/>
                <a:gd name="connsiteX9" fmla="*/ 103727 w 554164"/>
                <a:gd name="connsiteY9" fmla="*/ 84487 h 679323"/>
                <a:gd name="connsiteX10" fmla="*/ 0 w 554164"/>
                <a:gd name="connsiteY10" fmla="*/ 342138 h 679323"/>
                <a:gd name="connsiteX11" fmla="*/ 119348 w 554164"/>
                <a:gd name="connsiteY11" fmla="*/ 603028 h 679323"/>
                <a:gd name="connsiteX12" fmla="*/ 237744 w 554164"/>
                <a:gd name="connsiteY12" fmla="*/ 660464 h 679323"/>
                <a:gd name="connsiteX13" fmla="*/ 365474 w 554164"/>
                <a:gd name="connsiteY13" fmla="*/ 679323 h 679323"/>
                <a:gd name="connsiteX14" fmla="*/ 475012 w 554164"/>
                <a:gd name="connsiteY14" fmla="*/ 669703 h 679323"/>
                <a:gd name="connsiteX15" fmla="*/ 554165 w 554164"/>
                <a:gd name="connsiteY15" fmla="*/ 652748 h 679323"/>
                <a:gd name="connsiteX16" fmla="*/ 546163 w 554164"/>
                <a:gd name="connsiteY16" fmla="*/ 515588 h 679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4164" h="679323">
                  <a:moveTo>
                    <a:pt x="546259" y="515493"/>
                  </a:moveTo>
                  <a:cubicBezTo>
                    <a:pt x="498158" y="537591"/>
                    <a:pt x="445199" y="548926"/>
                    <a:pt x="387286" y="549497"/>
                  </a:cubicBezTo>
                  <a:cubicBezTo>
                    <a:pt x="324041" y="549497"/>
                    <a:pt x="273272" y="530924"/>
                    <a:pt x="234982" y="493871"/>
                  </a:cubicBezTo>
                  <a:cubicBezTo>
                    <a:pt x="195548" y="457391"/>
                    <a:pt x="175450" y="406813"/>
                    <a:pt x="174879" y="342138"/>
                  </a:cubicBezTo>
                  <a:cubicBezTo>
                    <a:pt x="175450" y="279559"/>
                    <a:pt x="193738" y="228886"/>
                    <a:pt x="229648" y="189929"/>
                  </a:cubicBezTo>
                  <a:cubicBezTo>
                    <a:pt x="264985" y="150400"/>
                    <a:pt x="312896" y="130302"/>
                    <a:pt x="373475" y="129731"/>
                  </a:cubicBezTo>
                  <a:cubicBezTo>
                    <a:pt x="430720" y="129731"/>
                    <a:pt x="486156" y="145161"/>
                    <a:pt x="539591" y="175927"/>
                  </a:cubicBezTo>
                  <a:lnTo>
                    <a:pt x="553402" y="34004"/>
                  </a:lnTo>
                  <a:cubicBezTo>
                    <a:pt x="492538" y="12573"/>
                    <a:pt x="429577" y="1238"/>
                    <a:pt x="364617" y="0"/>
                  </a:cubicBezTo>
                  <a:cubicBezTo>
                    <a:pt x="257746" y="0"/>
                    <a:pt x="170878" y="28194"/>
                    <a:pt x="103727" y="84487"/>
                  </a:cubicBezTo>
                  <a:cubicBezTo>
                    <a:pt x="35719" y="141732"/>
                    <a:pt x="1143" y="227648"/>
                    <a:pt x="0" y="342138"/>
                  </a:cubicBezTo>
                  <a:cubicBezTo>
                    <a:pt x="2381" y="464630"/>
                    <a:pt x="42196" y="551593"/>
                    <a:pt x="119348" y="603028"/>
                  </a:cubicBezTo>
                  <a:cubicBezTo>
                    <a:pt x="155257" y="629317"/>
                    <a:pt x="194786" y="648462"/>
                    <a:pt x="237744" y="660464"/>
                  </a:cubicBezTo>
                  <a:cubicBezTo>
                    <a:pt x="280511" y="673037"/>
                    <a:pt x="323088" y="679323"/>
                    <a:pt x="365474" y="679323"/>
                  </a:cubicBezTo>
                  <a:cubicBezTo>
                    <a:pt x="408527" y="678751"/>
                    <a:pt x="445008" y="675513"/>
                    <a:pt x="475012" y="669703"/>
                  </a:cubicBezTo>
                  <a:cubicBezTo>
                    <a:pt x="504634" y="664845"/>
                    <a:pt x="531114" y="659225"/>
                    <a:pt x="554165" y="652748"/>
                  </a:cubicBezTo>
                  <a:lnTo>
                    <a:pt x="546163" y="51558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5F559E7E-8FA8-B27A-F6E8-C969A5CF87C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261669" y="3102196"/>
              <a:ext cx="458247" cy="656748"/>
            </a:xfrm>
            <a:custGeom>
              <a:avLst/>
              <a:gdLst>
                <a:gd name="connsiteX0" fmla="*/ 0 w 458247"/>
                <a:gd name="connsiteY0" fmla="*/ 656749 h 656748"/>
                <a:gd name="connsiteX1" fmla="*/ 458248 w 458247"/>
                <a:gd name="connsiteY1" fmla="*/ 656749 h 656748"/>
                <a:gd name="connsiteX2" fmla="*/ 458248 w 458247"/>
                <a:gd name="connsiteY2" fmla="*/ 532638 h 656748"/>
                <a:gd name="connsiteX3" fmla="*/ 169164 w 458247"/>
                <a:gd name="connsiteY3" fmla="*/ 532638 h 656748"/>
                <a:gd name="connsiteX4" fmla="*/ 169164 w 458247"/>
                <a:gd name="connsiteY4" fmla="*/ 383762 h 656748"/>
                <a:gd name="connsiteX5" fmla="*/ 432911 w 458247"/>
                <a:gd name="connsiteY5" fmla="*/ 383762 h 656748"/>
                <a:gd name="connsiteX6" fmla="*/ 432911 w 458247"/>
                <a:gd name="connsiteY6" fmla="*/ 259747 h 656748"/>
                <a:gd name="connsiteX7" fmla="*/ 169164 w 458247"/>
                <a:gd name="connsiteY7" fmla="*/ 259747 h 656748"/>
                <a:gd name="connsiteX8" fmla="*/ 169164 w 458247"/>
                <a:gd name="connsiteY8" fmla="*/ 124111 h 656748"/>
                <a:gd name="connsiteX9" fmla="*/ 448056 w 458247"/>
                <a:gd name="connsiteY9" fmla="*/ 124111 h 656748"/>
                <a:gd name="connsiteX10" fmla="*/ 448056 w 458247"/>
                <a:gd name="connsiteY10" fmla="*/ 0 h 656748"/>
                <a:gd name="connsiteX11" fmla="*/ 0 w 458247"/>
                <a:gd name="connsiteY11" fmla="*/ 0 h 656748"/>
                <a:gd name="connsiteX12" fmla="*/ 0 w 458247"/>
                <a:gd name="connsiteY12" fmla="*/ 656749 h 65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8247" h="656748">
                  <a:moveTo>
                    <a:pt x="0" y="656749"/>
                  </a:moveTo>
                  <a:lnTo>
                    <a:pt x="458248" y="656749"/>
                  </a:lnTo>
                  <a:lnTo>
                    <a:pt x="458248" y="532638"/>
                  </a:lnTo>
                  <a:lnTo>
                    <a:pt x="169164" y="532638"/>
                  </a:lnTo>
                  <a:lnTo>
                    <a:pt x="169164" y="383762"/>
                  </a:lnTo>
                  <a:lnTo>
                    <a:pt x="432911" y="383762"/>
                  </a:lnTo>
                  <a:lnTo>
                    <a:pt x="432911" y="259747"/>
                  </a:lnTo>
                  <a:lnTo>
                    <a:pt x="169164" y="259747"/>
                  </a:lnTo>
                  <a:lnTo>
                    <a:pt x="169164" y="124111"/>
                  </a:lnTo>
                  <a:lnTo>
                    <a:pt x="448056" y="124111"/>
                  </a:lnTo>
                  <a:lnTo>
                    <a:pt x="448056" y="0"/>
                  </a:lnTo>
                  <a:lnTo>
                    <a:pt x="0" y="0"/>
                  </a:lnTo>
                  <a:lnTo>
                    <a:pt x="0" y="656749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24" name="Grafik 23">
            <a:extLst>
              <a:ext uri="{FF2B5EF4-FFF2-40B4-BE49-F238E27FC236}">
                <a16:creationId xmlns:a16="http://schemas.microsoft.com/office/drawing/2014/main" id="{2E783739-342A-D256-AE25-7C7CA627D9D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4511" y="5873609"/>
            <a:ext cx="6965224" cy="483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264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2" descr="A blue car and airplane in the sky&#10;&#10;Description automatically generated">
            <a:extLst>
              <a:ext uri="{FF2B5EF4-FFF2-40B4-BE49-F238E27FC236}">
                <a16:creationId xmlns:a16="http://schemas.microsoft.com/office/drawing/2014/main" id="{3C25C6AF-A36C-DD41-6A23-7D8D9A62FB0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</a:blip>
          <a:srcRect t="44" b="44"/>
          <a:stretch>
            <a:fillRect/>
          </a:stretch>
        </p:blipFill>
        <p:spPr>
          <a:xfrm>
            <a:off x="0" y="1"/>
            <a:ext cx="12192001" cy="6857999"/>
          </a:xfrm>
          <a:custGeom>
            <a:avLst/>
            <a:gdLst>
              <a:gd name="connsiteX0" fmla="*/ 0 w 12192001"/>
              <a:gd name="connsiteY0" fmla="*/ 0 h 6857999"/>
              <a:gd name="connsiteX1" fmla="*/ 12192001 w 12192001"/>
              <a:gd name="connsiteY1" fmla="*/ 0 h 6857999"/>
              <a:gd name="connsiteX2" fmla="*/ 12192001 w 12192001"/>
              <a:gd name="connsiteY2" fmla="*/ 6857999 h 6857999"/>
              <a:gd name="connsiteX3" fmla="*/ 0 w 12192001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7999">
                <a:moveTo>
                  <a:pt x="0" y="0"/>
                </a:moveTo>
                <a:lnTo>
                  <a:pt x="12192001" y="0"/>
                </a:lnTo>
                <a:lnTo>
                  <a:pt x="12192001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9D01270D-EA9D-2C50-0439-953B19A093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raktikum Tim heilman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13B83160-8C61-F85A-1A94-15BFC9E27F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Tim Heilman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5620C-2BB7-A61C-FEE7-0247FC952E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31.03.2025</a:t>
            </a:r>
          </a:p>
        </p:txBody>
      </p:sp>
    </p:spTree>
    <p:extLst>
      <p:ext uri="{BB962C8B-B14F-4D97-AF65-F5344CB8AC3E}">
        <p14:creationId xmlns:p14="http://schemas.microsoft.com/office/powerpoint/2010/main" val="614844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D096FD-DBB0-C854-C078-18B3E9038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dSPA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FCE4D0-8186-64E2-863B-B295A57C77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7" y="1052514"/>
            <a:ext cx="11376025" cy="5256212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dSPACE Kun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utomobilindustri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grarindustri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Luft-/Raumfahrtindustr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dSPACE Unternehm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2800+ Mitarbeiter weltwei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2000+ Ingenieure und Informatik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35+ Jahre Erfahrung</a:t>
            </a:r>
          </a:p>
          <a:p>
            <a:pPr marL="252000" lvl="1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dSPACE Entwicklungsbereich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bieter für Software und Hardware</a:t>
            </a:r>
          </a:p>
          <a:p>
            <a:pPr marL="537750" lvl="1" indent="-285750">
              <a:buFont typeface="Wingdings" panose="05000000000000000000" pitchFamily="2" charset="2"/>
              <a:buChar char="§"/>
            </a:pPr>
            <a:r>
              <a:rPr lang="de-DE" dirty="0"/>
              <a:t>Autonomes Fahren</a:t>
            </a:r>
          </a:p>
          <a:p>
            <a:pPr marL="537750" lvl="1" indent="-285750">
              <a:buFont typeface="Wingdings" panose="05000000000000000000" pitchFamily="2" charset="2"/>
              <a:buChar char="§"/>
            </a:pPr>
            <a:r>
              <a:rPr lang="de-DE" dirty="0"/>
              <a:t>E-Mobilität</a:t>
            </a:r>
          </a:p>
          <a:p>
            <a:pPr marL="537750" lvl="1" indent="-285750">
              <a:buFont typeface="Wingdings" panose="05000000000000000000" pitchFamily="2" charset="2"/>
              <a:buChar char="§"/>
            </a:pPr>
            <a:r>
              <a:rPr lang="de-DE" dirty="0"/>
              <a:t>Kommunikationssysteme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744D81-4E98-E319-9E97-997764B627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Tim Heilman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9D2AFD-CE8A-29C9-5F11-3B089829087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© dSPACE GmbH. All rights reserved | Public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98B1194-F296-E7F0-4DD1-72334C430C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0" name="Picture 9" descr="A map of the world&#10;&#10;Description automatically generated">
            <a:extLst>
              <a:ext uri="{FF2B5EF4-FFF2-40B4-BE49-F238E27FC236}">
                <a16:creationId xmlns:a16="http://schemas.microsoft.com/office/drawing/2014/main" id="{0827073A-1B03-08F8-1F66-4CC687CAF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0273" y="4247659"/>
            <a:ext cx="4414221" cy="2175580"/>
          </a:xfrm>
          <a:prstGeom prst="rect">
            <a:avLst/>
          </a:prstGeom>
        </p:spPr>
      </p:pic>
      <p:pic>
        <p:nvPicPr>
          <p:cNvPr id="9" name="Picture 8" descr="A computer screen shot of a computer&#10;&#10;Description automatically generated">
            <a:extLst>
              <a:ext uri="{FF2B5EF4-FFF2-40B4-BE49-F238E27FC236}">
                <a16:creationId xmlns:a16="http://schemas.microsoft.com/office/drawing/2014/main" id="{D748E2A5-08D1-554E-5429-FBF1794696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999290"/>
            <a:ext cx="5502769" cy="298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6933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4862B276-4031-ED88-A573-AECD995F5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e des Praktikum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7CF3DBB-28A0-7E83-8F34-FC0E348219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1052514"/>
            <a:ext cx="11376025" cy="523307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Einführung in C#</a:t>
            </a:r>
          </a:p>
          <a:p>
            <a:endParaRPr lang="de-DE" dirty="0"/>
          </a:p>
          <a:p>
            <a:r>
              <a:rPr lang="de-DE" dirty="0"/>
              <a:t>Paradigmen der Programmierung</a:t>
            </a:r>
          </a:p>
          <a:p>
            <a:pPr lvl="1"/>
            <a:endParaRPr lang="de-DE" dirty="0"/>
          </a:p>
          <a:p>
            <a:r>
              <a:rPr lang="de-DE" dirty="0"/>
              <a:t>Einfache Desktopanwendung</a:t>
            </a:r>
          </a:p>
          <a:p>
            <a:endParaRPr lang="de-DE" dirty="0"/>
          </a:p>
          <a:p>
            <a:r>
              <a:rPr lang="de-DE" dirty="0"/>
              <a:t>Softwaretests</a:t>
            </a:r>
          </a:p>
          <a:p>
            <a:endParaRPr lang="de-DE" dirty="0"/>
          </a:p>
          <a:p>
            <a:r>
              <a:rPr lang="de-DE"/>
              <a:t>Programmierung von Weboberflächen</a:t>
            </a:r>
            <a:endParaRPr lang="de-DE" dirty="0"/>
          </a:p>
          <a:p>
            <a:endParaRPr lang="de-DE" dirty="0"/>
          </a:p>
          <a:p>
            <a:r>
              <a:rPr lang="de-DE" dirty="0"/>
              <a:t>Design einer grafischen Benutzeroberfläche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Anwendung unter Nutzung von Webdiensten</a:t>
            </a:r>
          </a:p>
          <a:p>
            <a:pPr lvl="1"/>
            <a:endParaRPr lang="de-DE" dirty="0"/>
          </a:p>
          <a:p>
            <a:endParaRPr lang="de-DE" dirty="0"/>
          </a:p>
          <a:p>
            <a:pPr marL="180000" lvl="1" indent="0">
              <a:buNone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04D111-2CF5-9AD4-68A6-7EBEC3F7BCB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Tim Heilman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8070B1-7A46-7D48-12E0-B7020E7CCF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© dSPACE GmbH. All rights reserved | Public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3596E5-90E7-9E2F-657E-417FF91655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874793-537C-96A3-9530-7826055B7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6916" y="1281145"/>
            <a:ext cx="1305107" cy="17718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10F1CD-6216-FF04-C90A-C92D2C162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3890" y="1668094"/>
            <a:ext cx="2898256" cy="13849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3DEA9A1-8D2C-B324-2925-CF060FF50F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63890" y="3352349"/>
            <a:ext cx="2898256" cy="123484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4253A55-EF67-6196-CAA6-79FE4B52A8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6160" y="3352349"/>
            <a:ext cx="2375864" cy="123484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0FA4B79-A494-2DEC-AF87-31CFF0F5BC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77" y="5937570"/>
            <a:ext cx="370058" cy="370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.Net Logo">
            <a:extLst>
              <a:ext uri="{FF2B5EF4-FFF2-40B4-BE49-F238E27FC236}">
                <a16:creationId xmlns:a16="http://schemas.microsoft.com/office/drawing/2014/main" id="{D8375D33-28E2-BFB5-395C-74EBED7830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899" y="5943638"/>
            <a:ext cx="353611" cy="349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WPF logo">
            <a:extLst>
              <a:ext uri="{FF2B5EF4-FFF2-40B4-BE49-F238E27FC236}">
                <a16:creationId xmlns:a16="http://schemas.microsoft.com/office/drawing/2014/main" id="{EE5726C4-4A47-A161-C4E4-E78FCFB1EB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16" t="16426" r="24722" b="19088"/>
          <a:stretch/>
        </p:blipFill>
        <p:spPr bwMode="auto">
          <a:xfrm>
            <a:off x="1428255" y="5921888"/>
            <a:ext cx="370058" cy="376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Image result for Avalonia ui logo">
            <a:extLst>
              <a:ext uri="{FF2B5EF4-FFF2-40B4-BE49-F238E27FC236}">
                <a16:creationId xmlns:a16="http://schemas.microsoft.com/office/drawing/2014/main" id="{8B5CAB7E-AB54-07C0-7493-B15737902D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468" y="5921888"/>
            <a:ext cx="353611" cy="376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Nunit logo c#">
            <a:extLst>
              <a:ext uri="{FF2B5EF4-FFF2-40B4-BE49-F238E27FC236}">
                <a16:creationId xmlns:a16="http://schemas.microsoft.com/office/drawing/2014/main" id="{5985A62F-8AD5-45F2-0D53-7140891FE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079" y="5769561"/>
            <a:ext cx="643431" cy="681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1D68C9B-BAA2-87BB-C2F2-4307053418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35731" y="5802263"/>
            <a:ext cx="1581069" cy="535297"/>
          </a:xfrm>
          <a:prstGeom prst="rect">
            <a:avLst/>
          </a:prstGeom>
        </p:spPr>
      </p:pic>
      <p:pic>
        <p:nvPicPr>
          <p:cNvPr id="18" name="Picture 17" descr="A blue and black logo&#10;&#10;Description automatically generated">
            <a:extLst>
              <a:ext uri="{FF2B5EF4-FFF2-40B4-BE49-F238E27FC236}">
                <a16:creationId xmlns:a16="http://schemas.microsoft.com/office/drawing/2014/main" id="{572869B5-7E2A-4B14-EDE3-43D496C2DC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79071" y="5943639"/>
            <a:ext cx="268648" cy="33312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98AC34D-0733-375D-32E9-165E959A8B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r="64998" b="-1906"/>
          <a:stretch/>
        </p:blipFill>
        <p:spPr>
          <a:xfrm>
            <a:off x="4933013" y="5908574"/>
            <a:ext cx="416934" cy="378133"/>
          </a:xfrm>
          <a:prstGeom prst="rect">
            <a:avLst/>
          </a:prstGeom>
        </p:spPr>
      </p:pic>
      <p:pic>
        <p:nvPicPr>
          <p:cNvPr id="1046" name="Picture 22" descr="Cloud api ">
            <a:extLst>
              <a:ext uri="{FF2B5EF4-FFF2-40B4-BE49-F238E27FC236}">
                <a16:creationId xmlns:a16="http://schemas.microsoft.com/office/drawing/2014/main" id="{59122C5B-5B6F-6A2B-BEED-31E845F02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2554" y="5943639"/>
            <a:ext cx="413606" cy="342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postman logo - Testautomatisierung.org">
            <a:extLst>
              <a:ext uri="{FF2B5EF4-FFF2-40B4-BE49-F238E27FC236}">
                <a16:creationId xmlns:a16="http://schemas.microsoft.com/office/drawing/2014/main" id="{7ECECC23-5016-1998-0626-CF27FD3B88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58" r="23864"/>
          <a:stretch/>
        </p:blipFill>
        <p:spPr bwMode="auto">
          <a:xfrm>
            <a:off x="5968767" y="5908574"/>
            <a:ext cx="375351" cy="428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>
            <a:extLst>
              <a:ext uri="{FF2B5EF4-FFF2-40B4-BE49-F238E27FC236}">
                <a16:creationId xmlns:a16="http://schemas.microsoft.com/office/drawing/2014/main" id="{FECE8E0E-DB46-58A7-C9D7-E48AC5EBD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761" y="5927235"/>
            <a:ext cx="876311" cy="365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58878760-D4BD-FF80-7DD1-E0E8B795A76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511230" y="4858060"/>
            <a:ext cx="2136624" cy="106382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141652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D96574-542F-C284-A2E6-DD7C6C5EE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e des Praktiku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C48F49-5F39-47C7-3DC9-AE5FFF5277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führung in Python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dirty="0"/>
              <a:t>Einfache Turtlegrafik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dirty="0"/>
              <a:t>Umwandlung von Bild zu ASCII Art</a:t>
            </a:r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2EBD4-D92F-5E0C-0819-677478A0C97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Tim Heilman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9B1F20-9563-D70B-81BA-C0259E47E9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© dSPACE GmbH. All rights reserved |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5EA6AD-F571-7465-0D66-1F96FC7DC6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8" name="Picture 7" descr="A colorful splattered background">
            <a:extLst>
              <a:ext uri="{FF2B5EF4-FFF2-40B4-BE49-F238E27FC236}">
                <a16:creationId xmlns:a16="http://schemas.microsoft.com/office/drawing/2014/main" id="{39E7D9ED-8375-D12F-316D-B8ED877F08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1861" y="1052514"/>
            <a:ext cx="2272151" cy="137647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9" name="Picture 8" descr="A black and white image of a penguin&#10;&#10;Description automatically generated">
            <a:extLst>
              <a:ext uri="{FF2B5EF4-FFF2-40B4-BE49-F238E27FC236}">
                <a16:creationId xmlns:a16="http://schemas.microsoft.com/office/drawing/2014/main" id="{DA0AE0A0-864C-0DB0-0144-F65315454F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6013" y="2765009"/>
            <a:ext cx="1700362" cy="186375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11" name="Picture 10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CA992CEB-3EDB-0402-EE98-06E0CB671C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6802" y="2765009"/>
            <a:ext cx="2107094" cy="80064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436067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4CBE3-659B-5B60-DFAE-2E9371F4C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B1D7B2-859C-C70E-702A-50D80F4FDA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de-DE" sz="9600" dirty="0"/>
              <a:t>Dem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0DEF0-563F-F41A-998E-0979C53DE6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Tim Heilman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7FEC18-1E17-82FC-D406-C88C82E4BF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© dSPACE GmbH. All rights reserved | Public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1B99A6-FB5D-4C9C-0702-ECE8BF26AB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2A66A8-9A15-4066-AA5E-6DED98C1F8D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4177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2088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2801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SPACE Master DE">
  <a:themeElements>
    <a:clrScheme name="dSpace_Colors">
      <a:dk1>
        <a:srgbClr val="474749"/>
      </a:dk1>
      <a:lt1>
        <a:sysClr val="window" lastClr="FFFFFF"/>
      </a:lt1>
      <a:dk2>
        <a:srgbClr val="00224A"/>
      </a:dk2>
      <a:lt2>
        <a:srgbClr val="E1E9F3"/>
      </a:lt2>
      <a:accent1>
        <a:srgbClr val="004494"/>
      </a:accent1>
      <a:accent2>
        <a:srgbClr val="3076BF"/>
      </a:accent2>
      <a:accent3>
        <a:srgbClr val="95B6DF"/>
      </a:accent3>
      <a:accent4>
        <a:srgbClr val="58595B"/>
      </a:accent4>
      <a:accent5>
        <a:srgbClr val="97999C"/>
      </a:accent5>
      <a:accent6>
        <a:srgbClr val="C9CACC"/>
      </a:accent6>
      <a:hlink>
        <a:srgbClr val="CC0033"/>
      </a:hlink>
      <a:folHlink>
        <a:srgbClr val="CC0033"/>
      </a:folHlink>
    </a:clrScheme>
    <a:fontScheme name="dSpace_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08000" rIns="108000" bIns="72000" rtlCol="0" anchor="ctr"/>
      <a:lstStyle>
        <a:defPPr algn="l">
          <a:buClr>
            <a:schemeClr val="bg1"/>
          </a:buClr>
          <a:defRPr dirty="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Red">
      <a:srgbClr val="CC0033"/>
    </a:custClr>
    <a:custClr name="Dunkelblaugrün">
      <a:srgbClr val="008A8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esentation1" id="{4348E905-8B60-43E8-9437-96116E0B985E}" vid="{475252B2-961C-44DE-87F7-AAB86CE3DCB7}"/>
    </a:ext>
  </a:extLst>
</a:theme>
</file>

<file path=ppt/theme/theme2.xml><?xml version="1.0" encoding="utf-8"?>
<a:theme xmlns:a="http://schemas.openxmlformats.org/drawingml/2006/main" name="Office">
  <a:themeElements>
    <a:clrScheme name="dSpace_Colors">
      <a:dk1>
        <a:srgbClr val="474749"/>
      </a:dk1>
      <a:lt1>
        <a:sysClr val="window" lastClr="FFFFFF"/>
      </a:lt1>
      <a:dk2>
        <a:srgbClr val="00224A"/>
      </a:dk2>
      <a:lt2>
        <a:srgbClr val="E1E9F3"/>
      </a:lt2>
      <a:accent1>
        <a:srgbClr val="004494"/>
      </a:accent1>
      <a:accent2>
        <a:srgbClr val="3076BF"/>
      </a:accent2>
      <a:accent3>
        <a:srgbClr val="95B6DF"/>
      </a:accent3>
      <a:accent4>
        <a:srgbClr val="58595B"/>
      </a:accent4>
      <a:accent5>
        <a:srgbClr val="97999C"/>
      </a:accent5>
      <a:accent6>
        <a:srgbClr val="C9CACC"/>
      </a:accent6>
      <a:hlink>
        <a:srgbClr val="CC0033"/>
      </a:hlink>
      <a:folHlink>
        <a:srgbClr val="CC0033"/>
      </a:folHlink>
    </a:clrScheme>
    <a:fontScheme name="dSpace_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dSpace_Colors">
      <a:dk1>
        <a:srgbClr val="474749"/>
      </a:dk1>
      <a:lt1>
        <a:sysClr val="window" lastClr="FFFFFF"/>
      </a:lt1>
      <a:dk2>
        <a:srgbClr val="00224A"/>
      </a:dk2>
      <a:lt2>
        <a:srgbClr val="E1E9F3"/>
      </a:lt2>
      <a:accent1>
        <a:srgbClr val="004494"/>
      </a:accent1>
      <a:accent2>
        <a:srgbClr val="3076BF"/>
      </a:accent2>
      <a:accent3>
        <a:srgbClr val="95B6DF"/>
      </a:accent3>
      <a:accent4>
        <a:srgbClr val="58595B"/>
      </a:accent4>
      <a:accent5>
        <a:srgbClr val="97999C"/>
      </a:accent5>
      <a:accent6>
        <a:srgbClr val="C9CACC"/>
      </a:accent6>
      <a:hlink>
        <a:srgbClr val="CC0033"/>
      </a:hlink>
      <a:folHlink>
        <a:srgbClr val="CC0033"/>
      </a:folHlink>
    </a:clrScheme>
    <a:fontScheme name="dSpace_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ftragsID xmlns="09f2d918-0e3a-466c-9f38-aa4613b31858">4bf2346b-d669-ef11-bfe2-000d3ab1a680</AuftragsID>
    <Datum xmlns="09f2d918-0e3a-466c-9f38-aa4613b31858" xsi:nil="true"/>
    <Kontaktname xmlns="09f2d918-0e3a-466c-9f38-aa4613b31858">Falk Feller</Kontaktname>
    <RefNr xmlns="09f2d918-0e3a-466c-9f38-aa4613b31858">75681</RefNr>
    <Kontakt_x0020_E-Mail xmlns="09f2d918-0e3a-466c-9f38-aa4613b31858">ffeller@dspace.de</Kontakt_x0020_E-Mail>
    <_x00c4_nderungsdatum xmlns="09f2d918-0e3a-466c-9f38-aa4613b31858" xsi:nil="true"/>
    <FileServerLink xmlns="09f2d918-0e3a-466c-9f38-aa4613b31858" xsi:nil="true"/>
    <lcf76f155ced4ddcb4097134ff3c332f xmlns="09f2d918-0e3a-466c-9f38-aa4613b31858">
      <Terms xmlns="http://schemas.microsoft.com/office/infopath/2007/PartnerControls"/>
    </lcf76f155ced4ddcb4097134ff3c332f>
    <TaxCatchAll xmlns="49fdd0f7-b5e6-4db2-af4b-ed23e4d5c04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AD236A75FEEE4D89C8DDCC17F2BFE1" ma:contentTypeVersion="18" ma:contentTypeDescription="Ein neues Dokument erstellen." ma:contentTypeScope="" ma:versionID="48aa947759bd3233cc2444d26638261d">
  <xsd:schema xmlns:xsd="http://www.w3.org/2001/XMLSchema" xmlns:xs="http://www.w3.org/2001/XMLSchema" xmlns:p="http://schemas.microsoft.com/office/2006/metadata/properties" xmlns:ns2="09f2d918-0e3a-466c-9f38-aa4613b31858" xmlns:ns3="49fdd0f7-b5e6-4db2-af4b-ed23e4d5c043" targetNamespace="http://schemas.microsoft.com/office/2006/metadata/properties" ma:root="true" ma:fieldsID="3e2c4945535a62c5b3257ee1736a203e" ns2:_="" ns3:_="">
    <xsd:import namespace="09f2d918-0e3a-466c-9f38-aa4613b31858"/>
    <xsd:import namespace="49fdd0f7-b5e6-4db2-af4b-ed23e4d5c043"/>
    <xsd:element name="properties">
      <xsd:complexType>
        <xsd:sequence>
          <xsd:element name="documentManagement">
            <xsd:complexType>
              <xsd:all>
                <xsd:element ref="ns2:Kontaktname" minOccurs="0"/>
                <xsd:element ref="ns2:AuftragsID" minOccurs="0"/>
                <xsd:element ref="ns2:RefNr" minOccurs="0"/>
                <xsd:element ref="ns2:Kontakt_x0020_E-Mail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_x00c4_nderungsdatum" minOccurs="0"/>
                <xsd:element ref="ns2:Datum" minOccurs="0"/>
                <xsd:element ref="ns2:MediaServiceLocation" minOccurs="0"/>
                <xsd:element ref="ns2:FileServerLink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f2d918-0e3a-466c-9f38-aa4613b31858" elementFormDefault="qualified">
    <xsd:import namespace="http://schemas.microsoft.com/office/2006/documentManagement/types"/>
    <xsd:import namespace="http://schemas.microsoft.com/office/infopath/2007/PartnerControls"/>
    <xsd:element name="Kontaktname" ma:index="8" nillable="true" ma:displayName="Kontaktname" ma:default="" ma:internalName="Kontaktname" ma:readOnly="false">
      <xsd:simpleType>
        <xsd:restriction base="dms:Text">
          <xsd:maxLength value="255"/>
        </xsd:restriction>
      </xsd:simpleType>
    </xsd:element>
    <xsd:element name="AuftragsID" ma:index="9" nillable="true" ma:displayName="AuftragsID" ma:default="" ma:internalName="AuftragsID" ma:readOnly="false">
      <xsd:simpleType>
        <xsd:restriction base="dms:Text">
          <xsd:maxLength value="255"/>
        </xsd:restriction>
      </xsd:simpleType>
    </xsd:element>
    <xsd:element name="RefNr" ma:index="10" nillable="true" ma:displayName="RefNr" ma:format="Dropdown" ma:internalName="RefNr" ma:percentage="FALSE">
      <xsd:simpleType>
        <xsd:restriction base="dms:Number"/>
      </xsd:simpleType>
    </xsd:element>
    <xsd:element name="Kontakt_x0020_E-Mail" ma:index="11" nillable="true" ma:displayName="Kontakt E-Mail" ma:default="" ma:internalName="Kontakt_x0020_E_x002d_Mail">
      <xsd:simpleType>
        <xsd:restriction base="dms:Text">
          <xsd:maxLength value="255"/>
        </xsd:restriction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28c2ea2-57a0-4bd9-92b2-10031419a81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x00c4_nderungsdatum" ma:index="26" nillable="true" ma:displayName="Änderungsdatum" ma:format="DateTime" ma:internalName="_x00c4_nderungsdatum">
      <xsd:simpleType>
        <xsd:restriction base="dms:DateTime"/>
      </xsd:simpleType>
    </xsd:element>
    <xsd:element name="Datum" ma:index="27" nillable="true" ma:displayName="Datum" ma:format="DateTime" ma:internalName="Datum">
      <xsd:simpleType>
        <xsd:restriction base="dms:DateTime"/>
      </xsd:simpleType>
    </xsd:element>
    <xsd:element name="MediaServiceLocation" ma:index="28" nillable="true" ma:displayName="Location" ma:description="" ma:indexed="true" ma:internalName="MediaServiceLocation" ma:readOnly="true">
      <xsd:simpleType>
        <xsd:restriction base="dms:Text"/>
      </xsd:simpleType>
    </xsd:element>
    <xsd:element name="FileServerLink" ma:index="29" nillable="true" ma:displayName="FileServerLink" ma:format="Dropdown" ma:internalName="FileServerLink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fdd0f7-b5e6-4db2-af4b-ed23e4d5c043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e8d51961-0080-464c-bfa8-a9a50a62e845}" ma:internalName="TaxCatchAll" ma:showField="CatchAllData" ma:web="49fdd0f7-b5e6-4db2-af4b-ed23e4d5c0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6B678A-A66F-43D3-9685-F5718F142CEF}">
  <ds:schemaRefs>
    <ds:schemaRef ds:uri="http://schemas.microsoft.com/office/2006/documentManagement/types"/>
    <ds:schemaRef ds:uri="http://purl.org/dc/terms/"/>
    <ds:schemaRef ds:uri="49fdd0f7-b5e6-4db2-af4b-ed23e4d5c043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09f2d918-0e3a-466c-9f38-aa4613b3185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04BFE893-7F11-4776-B45B-E74F81BE1E28}">
  <ds:schemaRefs>
    <ds:schemaRef ds:uri="09f2d918-0e3a-466c-9f38-aa4613b31858"/>
    <ds:schemaRef ds:uri="49fdd0f7-b5e6-4db2-af4b-ed23e4d5c0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EF2D525-140A-4287-8D65-6FDE1BBD65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SPACE Template 1</Template>
  <TotalTime>0</TotalTime>
  <Words>131</Words>
  <Application>Microsoft Office PowerPoint</Application>
  <PresentationFormat>Widescreen</PresentationFormat>
  <Paragraphs>59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Segoe UI</vt:lpstr>
      <vt:lpstr>Wingdings</vt:lpstr>
      <vt:lpstr>dSPACE Master DE</vt:lpstr>
      <vt:lpstr>think-cell Folie</vt:lpstr>
      <vt:lpstr>PowerPoint Presentation</vt:lpstr>
      <vt:lpstr>Praktikum Tim heilmann</vt:lpstr>
      <vt:lpstr>Über dSPACE</vt:lpstr>
      <vt:lpstr>Inhalte des Praktikums</vt:lpstr>
      <vt:lpstr>Inhalte des Praktikums</vt:lpstr>
      <vt:lpstr>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Heilmann</dc:creator>
  <cp:lastModifiedBy>Tim Heilmann</cp:lastModifiedBy>
  <cp:revision>12</cp:revision>
  <dcterms:created xsi:type="dcterms:W3CDTF">2025-03-27T10:57:58Z</dcterms:created>
  <dcterms:modified xsi:type="dcterms:W3CDTF">2025-04-02T12:1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CAD236A75FEEE4D89C8DDCC17F2BFE1</vt:lpwstr>
  </property>
</Properties>
</file>